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8" r:id="rId2"/>
    <p:sldMasterId id="2147483664" r:id="rId3"/>
    <p:sldMasterId id="2147483668" r:id="rId4"/>
    <p:sldMasterId id="2147483684" r:id="rId5"/>
    <p:sldMasterId id="2147483687" r:id="rId6"/>
    <p:sldMasterId id="2147483709" r:id="rId7"/>
  </p:sldMasterIdLst>
  <p:notesMasterIdLst>
    <p:notesMasterId r:id="rId21"/>
  </p:notesMasterIdLst>
  <p:sldIdLst>
    <p:sldId id="16144900" r:id="rId8"/>
    <p:sldId id="16144902" r:id="rId9"/>
    <p:sldId id="16144913" r:id="rId10"/>
    <p:sldId id="16144903" r:id="rId11"/>
    <p:sldId id="16144911" r:id="rId12"/>
    <p:sldId id="16144904" r:id="rId13"/>
    <p:sldId id="16144905" r:id="rId14"/>
    <p:sldId id="16144906" r:id="rId15"/>
    <p:sldId id="16144909" r:id="rId16"/>
    <p:sldId id="16144907" r:id="rId17"/>
    <p:sldId id="16144910" r:id="rId18"/>
    <p:sldId id="16144908" r:id="rId19"/>
    <p:sldId id="16144912" r:id="rId20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" lastIdx="2" clrIdx="0"/>
  <p:cmAuthor id="29" name="20775" initials="2" lastIdx="0" clrIdx="0"/>
  <p:cmAuthor id="1" name="Unknown User10" initials="Unknown User10" lastIdx="1" clrIdx="0"/>
  <p:cmAuthor id="30" name="未知用户12" initials="未" lastIdx="0" clrIdx="0"/>
  <p:cmAuthor id="2" name="Unknown User2" initials="Unknown User2" lastIdx="0" clrIdx="1"/>
  <p:cmAuthor id="3" name="Unknown User3" initials="Unknown User3" lastIdx="0" clrIdx="2"/>
  <p:cmAuthor id="4" name="未知用户3" initials="未" lastIdx="0" clrIdx="0"/>
  <p:cmAuthor id="5" name="Unknown User5" initials="Unknown User5" lastIdx="32" clrIdx="0"/>
  <p:cmAuthor id="6" name="番茄花园" initials="番" lastIdx="1" clrIdx="0"/>
  <p:cmAuthor id="7" name="Unknown User6" initials="Unknown User6" lastIdx="1" clrIdx="0"/>
  <p:cmAuthor id="8" name="chenye" initials="c" lastIdx="1" clrIdx="0"/>
  <p:cmAuthor id="9" name="Joseph CHEN" initials="J" lastIdx="1" clrIdx="0"/>
  <p:cmAuthor id="10" name="Unknown User4" initials="Unknown User4" lastIdx="0" clrIdx="0"/>
  <p:cmAuthor id="11" name="Unknown User7" initials="Unknown User7" lastIdx="1" clrIdx="0"/>
  <p:cmAuthor id="12" name="Unknown User8" initials="Unknown User8" lastIdx="0" clrIdx="0"/>
  <p:cmAuthor id="13" name="51003753" initials="5" lastIdx="1" clrIdx="0"/>
  <p:cmAuthor id="14" name="64500190" initials="6" lastIdx="1" clrIdx="3"/>
  <p:cmAuthor id="15" name="仝德志" initials="仝" lastIdx="1" clrIdx="0"/>
  <p:cmAuthor id="16" name="y tt" initials="yt" lastIdx="1" clrIdx="5"/>
  <p:cmAuthor id="17" name="Unknown User9" initials="Unknown User9" lastIdx="0" clrIdx="0"/>
  <p:cmAuthor id="19" name="Sanna Virtanen" initials="S" lastIdx="1" clrIdx="0"/>
  <p:cmAuthor id="20" name="abc" initials="a" lastIdx="3" clrIdx="0"/>
  <p:cmAuthor id="21" name="未知用户10" initials="未" lastIdx="0" clrIdx="0"/>
  <p:cmAuthor id="22" name="未知用户8" initials="未" lastIdx="1" clrIdx="0"/>
  <p:cmAuthor id="24" name="未知用户2" initials="未" lastIdx="0" clrIdx="0"/>
  <p:cmAuthor id="25" name="20794" initials="2" lastIdx="1" clrIdx="0"/>
  <p:cmAuthor id="26" name="Ma, John Zhan Feng" initials="M" lastIdx="3" clrIdx="0"/>
  <p:cmAuthor id="27" name="Margot Poschner" initials="M" lastIdx="0" clrIdx="0"/>
  <p:cmAuthor id="28" name="zxy" initials="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EEF"/>
    <a:srgbClr val="B4FCAD"/>
    <a:srgbClr val="CCFFCC"/>
    <a:srgbClr val="FFFFFF"/>
    <a:srgbClr val="FBA200"/>
    <a:srgbClr val="90C221"/>
    <a:srgbClr val="07A398"/>
    <a:srgbClr val="BDD7EE"/>
    <a:srgbClr val="C4E2C5"/>
    <a:srgbClr val="E66C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Gaya Medium 2 - Akse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Gaya Medium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Gaya Tera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Tanpa Gaya, Kisi Tabel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33" autoAdjust="0"/>
    <p:restoredTop sz="94249" autoAdjust="0"/>
  </p:normalViewPr>
  <p:slideViewPr>
    <p:cSldViewPr snapToGrid="0">
      <p:cViewPr varScale="1">
        <p:scale>
          <a:sx n="62" d="100"/>
          <a:sy n="62" d="100"/>
        </p:scale>
        <p:origin x="86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91004D5-C3B6-44C4-8F88-94720DCF1342}" type="datetimeFigureOut">
              <a:rPr lang="en-US" smtClean="0"/>
              <a:t>10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31D4632D-4086-44A6-B0B8-2554D6C8311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>
              <a:spcBef>
                <a:spcPct val="0"/>
              </a:spcBef>
            </a:pPr>
            <a:endParaRPr lang="en-US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31BB61BA-F6A8-40A5-A4A5-8FD9365CCEF9}" type="slidenum">
              <a:rPr lang="en-US"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File:Asia_Pulp_&amp;_Paper_logo.jpg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File:Asia_Pulp_&amp;_Paper_logo.jpg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File:Asia_Pulp_&amp;_Paper_logo.jpg" TargetMode="External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File:Asia_Pulp_&amp;_Paper_logo.jpg" TargetMode="External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4" Type="http://schemas.openxmlformats.org/officeDocument/2006/relationships/image" Target="../media/image4.jpe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File:Asia_Pulp_&amp;_Paper_logo.jpg" TargetMode="External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.xml"/><Relationship Id="rId4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38"/>
          <p:cNvSpPr/>
          <p:nvPr userDrawn="1">
            <p:custDataLst>
              <p:tags r:id="rId1"/>
            </p:custDataLst>
          </p:nvPr>
        </p:nvSpPr>
        <p:spPr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cap="flat" cmpd="sng">
            <a:solidFill>
              <a:srgbClr val="C413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/>
            <a:endParaRPr lang="en-US" altLang="zh-CN" sz="1800"/>
          </a:p>
        </p:txBody>
      </p:sp>
      <p:pic>
        <p:nvPicPr>
          <p:cNvPr id="7" name="图片 6" descr="APP logo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1835" y="600710"/>
            <a:ext cx="3425825" cy="134112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433" tIns="45717" rIns="91433" bIns="45717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2" descr="Asia Pulp &amp; Paper 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692150"/>
            <a:ext cx="281353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574892" y="692249"/>
            <a:ext cx="2055877" cy="663994"/>
          </a:xfrm>
          <a:prstGeom prst="rect">
            <a:avLst/>
          </a:prstGeom>
        </p:spPr>
        <p:txBody>
          <a:bodyPr lIns="89993" tIns="89993" rIns="89993" bIns="89993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8843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1437"/>
            <a:ext cx="10363200" cy="461963"/>
          </a:xfrm>
        </p:spPr>
        <p:txBody>
          <a:bodyPr lIns="91440" rIns="91440"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2686053"/>
            <a:ext cx="12192000" cy="1417639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76653" y="3025781"/>
            <a:ext cx="4722283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solidFill>
                  <a:schemeClr val="bg1"/>
                </a:solidFill>
                <a:latin typeface="+mn-lt"/>
                <a:cs typeface="+mn-cs"/>
              </a:rPr>
              <a:t>THANK YOU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/>
          <p:nvPr userDrawn="1"/>
        </p:nvSpPr>
        <p:spPr bwMode="auto">
          <a:xfrm>
            <a:off x="484450" y="3209926"/>
            <a:ext cx="11254154" cy="606701"/>
          </a:xfrm>
          <a:prstGeom prst="rect">
            <a:avLst/>
          </a:prstGeom>
          <a:solidFill>
            <a:srgbClr val="D44949"/>
          </a:solidFill>
          <a:ln>
            <a:noFill/>
          </a:ln>
        </p:spPr>
        <p:txBody>
          <a:bodyPr vert="horz" wrap="square" lIns="0" tIns="45720" rIns="0" bIns="45720" numCol="1" anchor="ctr" anchorCtr="0" compatLnSpc="1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450" y="3209925"/>
            <a:ext cx="11254154" cy="606701"/>
          </a:xfrm>
          <a:solidFill>
            <a:srgbClr val="C41300"/>
          </a:solidFill>
        </p:spPr>
        <p:txBody>
          <a:bodyPr anchor="ctr" anchorCtr="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parator: New Subject / Thank You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433" tIns="45717" rIns="91433" bIns="45717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2" descr="Asia Pulp &amp; Paper 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692150"/>
            <a:ext cx="281353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574892" y="692249"/>
            <a:ext cx="2055877" cy="663994"/>
          </a:xfrm>
          <a:prstGeom prst="rect">
            <a:avLst/>
          </a:prstGeom>
        </p:spPr>
        <p:txBody>
          <a:bodyPr lIns="89993" tIns="89993" rIns="89993" bIns="89993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346" tIns="45672" rIns="91346" bIns="45672" anchor="ctr"/>
          <a:lstStyle/>
          <a:p>
            <a:pPr eaLnBrk="1" hangingPunct="1">
              <a:defRPr/>
            </a:pPr>
            <a:endParaRPr lang="en-US" sz="1800"/>
          </a:p>
        </p:txBody>
      </p:sp>
      <p:pic>
        <p:nvPicPr>
          <p:cNvPr id="3" name="Picture 8" descr="Logo APP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78693" y="228601"/>
            <a:ext cx="2413000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0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9481039" y="228600"/>
            <a:ext cx="250580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01090348\Pictures\Stock_leadershipclimb_Photo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5080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"/>
          <p:cNvSpPr>
            <a:spLocks noChangeArrowheads="1"/>
          </p:cNvSpPr>
          <p:nvPr userDrawn="1"/>
        </p:nvSpPr>
        <p:spPr bwMode="auto">
          <a:xfrm>
            <a:off x="58738" y="6543675"/>
            <a:ext cx="1943100" cy="295275"/>
          </a:xfrm>
          <a:prstGeom prst="rect">
            <a:avLst/>
          </a:prstGeom>
          <a:noFill/>
          <a:ln>
            <a:noFill/>
          </a:ln>
        </p:spPr>
        <p:txBody>
          <a:bodyPr wrap="none" lIns="9144" tIns="9144" rIns="9144" bIns="9144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US" altLang="en-US" dirty="0">
                <a:solidFill>
                  <a:schemeClr val="bg1"/>
                </a:solidFill>
                <a:latin typeface="Rage Italic" panose="03070502040507070304" pitchFamily="66" charset="0"/>
                <a:sym typeface="Rage Italic" panose="03070502040507070304" pitchFamily="66" charset="0"/>
              </a:rPr>
              <a:t>Growing Our Tomorrow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088C2061-83C6-43D4-A0AF-3BC8020FE519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/>
          <p:nvPr userDrawn="1"/>
        </p:nvSpPr>
        <p:spPr bwMode="auto">
          <a:xfrm>
            <a:off x="11998325" y="6630988"/>
            <a:ext cx="53975" cy="117475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5" strike="noStrike" noProof="1" smtClean="0">
                <a:solidFill>
                  <a:prstClr val="black"/>
                </a:solidFill>
                <a:latin typeface="+mn-lt"/>
                <a:ea typeface="SimSun" panose="02010600030101010101" pitchFamily="2" charset="-122"/>
                <a:cs typeface="+mn-cs"/>
              </a:rPr>
              <a:t>‹#›</a:t>
            </a:fld>
            <a:endParaRPr lang="en-US" sz="755" strike="noStrike" noProof="1">
              <a:solidFill>
                <a:prstClr val="black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199" y="172777"/>
            <a:ext cx="1048512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>
              <a:defRPr sz="1800">
                <a:latin typeface="+mj-lt"/>
              </a:defRPr>
            </a:lvl1pPr>
          </a:lstStyle>
          <a:p>
            <a:pPr lvl="0" fontAlgn="auto"/>
            <a:r>
              <a:rPr lang="en-US" strike="noStrike" noProof="0"/>
              <a:t>Click to edit Master title style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>
          <a:xfrm>
            <a:off x="11333163" y="6535738"/>
            <a:ext cx="858838" cy="365125"/>
          </a:xfrm>
          <a:prstGeom prst="rect">
            <a:avLst/>
          </a:prstGeom>
        </p:spPr>
        <p:txBody>
          <a:bodyPr/>
          <a:lstStyle/>
          <a:p>
            <a:pPr fontAlgn="base"/>
            <a:fld id="{BD5C96BA-F34F-46FC-BC5C-CE8B317285D1}" type="slidenum">
              <a:rPr lang="en-ID" noProof="1" smtClean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‹#›</a:t>
            </a:fld>
            <a:endParaRPr lang="en-ID" noProof="1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D03C9B19-7453-459B-A80F-FE6440DD15BD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CC967C2B-B21A-4597-AA51-8DAF29717071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24CF4BC1-5883-4FFE-9BF6-A6FB900566F0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D37A1FA4-1975-4412-9F07-54BA47C1A25E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BADD01B3-96CB-4BAD-A1A8-26C5A70BC364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-2626"/>
            <a:ext cx="12182475" cy="6860626"/>
          </a:xfrm>
          <a:prstGeom prst="rect">
            <a:avLst/>
          </a:prstGeom>
        </p:spPr>
      </p:pic>
      <p:grpSp>
        <p:nvGrpSpPr>
          <p:cNvPr id="3" name="组合 481"/>
          <p:cNvGrpSpPr/>
          <p:nvPr userDrawn="1"/>
        </p:nvGrpSpPr>
        <p:grpSpPr bwMode="auto">
          <a:xfrm>
            <a:off x="0" y="6045200"/>
            <a:ext cx="12192000" cy="812800"/>
            <a:chOff x="0" y="4951225"/>
            <a:chExt cx="9144000" cy="192275"/>
          </a:xfrm>
        </p:grpSpPr>
        <p:sp>
          <p:nvSpPr>
            <p:cNvPr id="4" name="矩形 480"/>
            <p:cNvSpPr/>
            <p:nvPr/>
          </p:nvSpPr>
          <p:spPr>
            <a:xfrm>
              <a:off x="5614988" y="4951225"/>
              <a:ext cx="3529013" cy="1922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5" name="矩形 1597"/>
            <p:cNvSpPr/>
            <p:nvPr/>
          </p:nvSpPr>
          <p:spPr>
            <a:xfrm>
              <a:off x="0" y="4951225"/>
              <a:ext cx="6154341" cy="192275"/>
            </a:xfrm>
            <a:custGeom>
              <a:avLst/>
              <a:gdLst/>
              <a:ahLst/>
              <a:cxnLst/>
              <a:rect l="l" t="t" r="r" b="b"/>
              <a:pathLst>
                <a:path w="6154620" h="192275">
                  <a:moveTo>
                    <a:pt x="0" y="0"/>
                  </a:moveTo>
                  <a:lnTo>
                    <a:pt x="5935941" y="0"/>
                  </a:lnTo>
                  <a:lnTo>
                    <a:pt x="6154620" y="192275"/>
                  </a:lnTo>
                  <a:lnTo>
                    <a:pt x="0" y="19227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6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130BD0F4-BD4A-4E55-B329-3CA533E85D89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D1B9F64B-229E-4C3D-AC2C-6480D5D9C3DC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00B04227-78D1-438D-8C15-480E0A5D139D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A1C07C1C-7884-4A75-BE46-C4A5B4D0F583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3/10/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/>
            <a:fld id="{BD5C96BA-F34F-46FC-BC5C-CE8B317285D1}" type="slidenum">
              <a:rPr lang="en-ID" strike="noStrike" noProof="1" smtClean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‹#›</a:t>
            </a:fld>
            <a:endParaRPr lang="en-ID" strike="noStrike" noProof="1"/>
          </a:p>
        </p:txBody>
      </p:sp>
    </p:spTree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03D41394-6543-4A9E-AB28-A31039020A5C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McK Title Elements" hidden="1"/>
          <p:cNvGrpSpPr/>
          <p:nvPr userDrawn="1"/>
        </p:nvGrpSpPr>
        <p:grpSpPr>
          <a:xfrm>
            <a:off x="403720" y="6231087"/>
            <a:ext cx="6714779" cy="545854"/>
            <a:chOff x="302790" y="6231087"/>
            <a:chExt cx="5036084" cy="545854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302790" y="6231087"/>
              <a:ext cx="5036084" cy="2462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0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302790" y="6530720"/>
              <a:ext cx="503608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00" baseline="0" noProof="0" dirty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grpSp>
        <p:nvGrpSpPr>
          <p:cNvPr id="8" name="Group 7"/>
          <p:cNvGrpSpPr/>
          <p:nvPr userDrawn="1"/>
        </p:nvGrpSpPr>
        <p:grpSpPr>
          <a:xfrm>
            <a:off x="5888181" y="-13854"/>
            <a:ext cx="6303819" cy="761999"/>
            <a:chOff x="5888181" y="-13855"/>
            <a:chExt cx="6303819" cy="1085581"/>
          </a:xfrm>
        </p:grpSpPr>
        <p:sp>
          <p:nvSpPr>
            <p:cNvPr id="11" name="Right Triangle 10"/>
            <p:cNvSpPr/>
            <p:nvPr/>
          </p:nvSpPr>
          <p:spPr>
            <a:xfrm flipH="1" flipV="1">
              <a:off x="8989488" y="0"/>
              <a:ext cx="3202512" cy="1071726"/>
            </a:xfrm>
            <a:prstGeom prst="rtTriangle">
              <a:avLst/>
            </a:prstGeom>
            <a:solidFill>
              <a:sysClr val="window" lastClr="FFFFFF">
                <a:lumMod val="85000"/>
                <a:alpha val="66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ight Triangle 11"/>
            <p:cNvSpPr/>
            <p:nvPr/>
          </p:nvSpPr>
          <p:spPr>
            <a:xfrm flipH="1" flipV="1">
              <a:off x="5888181" y="-13855"/>
              <a:ext cx="6289964" cy="817418"/>
            </a:xfrm>
            <a:prstGeom prst="rtTriangle">
              <a:avLst/>
            </a:prstGeom>
            <a:solidFill>
              <a:sysClr val="window" lastClr="FFFFFF">
                <a:lumMod val="85000"/>
                <a:alpha val="66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 flipH="1" flipV="1">
              <a:off x="7301391" y="-1"/>
              <a:ext cx="3202512" cy="374073"/>
            </a:xfrm>
            <a:prstGeom prst="rtTriangle">
              <a:avLst/>
            </a:prstGeom>
            <a:solidFill>
              <a:sysClr val="window" lastClr="FFFFFF">
                <a:lumMod val="85000"/>
                <a:alpha val="66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ight Triangle 13"/>
            <p:cNvSpPr/>
            <p:nvPr/>
          </p:nvSpPr>
          <p:spPr>
            <a:xfrm flipH="1" flipV="1">
              <a:off x="8989488" y="-1"/>
              <a:ext cx="3202512" cy="651164"/>
            </a:xfrm>
            <a:prstGeom prst="rtTriangle">
              <a:avLst/>
            </a:prstGeom>
            <a:solidFill>
              <a:srgbClr val="E7E6E6">
                <a:lumMod val="9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Isosceles Triangle 14"/>
            <p:cNvSpPr/>
            <p:nvPr/>
          </p:nvSpPr>
          <p:spPr>
            <a:xfrm rot="10800000">
              <a:off x="7799100" y="0"/>
              <a:ext cx="3196120" cy="415773"/>
            </a:xfrm>
            <a:prstGeom prst="triangle">
              <a:avLst/>
            </a:prstGeom>
            <a:solidFill>
              <a:srgbClr val="E7E6E6">
                <a:lumMod val="90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16200000" flipH="1" flipV="1">
              <a:off x="9660602" y="-1068864"/>
              <a:ext cx="201832" cy="2339560"/>
            </a:xfrm>
            <a:prstGeom prst="rtTriangle">
              <a:avLst/>
            </a:prstGeom>
            <a:solidFill>
              <a:sysClr val="window" lastClr="FFFFFF">
                <a:lumMod val="75000"/>
                <a:alpha val="64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ight Triangle 16"/>
            <p:cNvSpPr/>
            <p:nvPr/>
          </p:nvSpPr>
          <p:spPr>
            <a:xfrm rot="16200000" flipH="1">
              <a:off x="10490669" y="-1507573"/>
              <a:ext cx="193758" cy="3208904"/>
            </a:xfrm>
            <a:prstGeom prst="rtTriangle">
              <a:avLst/>
            </a:prstGeom>
            <a:solidFill>
              <a:sysClr val="window" lastClr="FFFFFF">
                <a:lumMod val="75000"/>
                <a:alpha val="64000"/>
              </a:sysClr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4" name="Picture 23" descr="Logo app sinarmas-09.jpg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750" t="11456" r="3750" b="12334"/>
          <a:stretch>
            <a:fillRect/>
          </a:stretch>
        </p:blipFill>
        <p:spPr>
          <a:xfrm>
            <a:off x="11180626" y="15549"/>
            <a:ext cx="955642" cy="335559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/>
          <p:cNvGraphicFramePr>
            <a:graphicFrameLocks noChangeAspect="1"/>
          </p:cNvGraphicFramePr>
          <p:nvPr/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11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 cmpd="sng">
            <a:solidFill>
              <a:srgbClr val="C41300"/>
            </a:solidFill>
            <a:round/>
          </a:ln>
          <a:effectLst>
            <a:outerShdw dist="25400" dir="5400000" algn="ctr" rotWithShape="0">
              <a:srgbClr val="FF0000"/>
            </a:outerShdw>
          </a:effec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/>
              <a:ea typeface="굴림"/>
              <a:cs typeface="+mn-cs"/>
            </a:endParaRP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11396663" y="6673851"/>
            <a:ext cx="234951" cy="126999"/>
          </a:xfrm>
          <a:prstGeom prst="rect">
            <a:avLst/>
          </a:prstGeom>
          <a:noFill/>
          <a:effectLst/>
        </p:spPr>
        <p:txBody>
          <a:bodyPr wrap="none" lIns="0" tIns="0" rIns="0" bIns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029E56A-DAB7-4C3C-86E5-7A2639CFFF9D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/>
                <a:ea typeface="굴림"/>
                <a:cs typeface="+mn-cs"/>
              </a:r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/>
              <a:ea typeface="굴림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/>
              <a:ea typeface="굴림"/>
              <a:cs typeface="+mn-cs"/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329117" y="6642101"/>
            <a:ext cx="2217145" cy="184666"/>
          </a:xfrm>
          <a:prstGeom prst="rect">
            <a:avLst/>
          </a:prstGeom>
          <a:noFill/>
          <a:ln w="12700" algn="ctr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/>
                <a:ea typeface="굴림"/>
                <a:cs typeface="+mn-cs"/>
              </a:rPr>
              <a:t>Confidential – for internal use only</a:t>
            </a:r>
          </a:p>
        </p:txBody>
      </p:sp>
      <p:graphicFrame>
        <p:nvGraphicFramePr>
          <p:cNvPr id="9" name="Object 9"/>
          <p:cNvGraphicFramePr>
            <a:graphicFrameLocks noChangeAspect="1"/>
          </p:cNvGraphicFramePr>
          <p:nvPr/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76" descr="Logo app sinarmas-09.jpg"/>
          <p:cNvPicPr>
            <a:picLocks noChangeAspect="1"/>
          </p:cNvPicPr>
          <p:nvPr userDrawn="1"/>
        </p:nvPicPr>
        <p:blipFill>
          <a:blip r:embed="rId8"/>
          <a:srcRect l="3751" t="11456" r="3751" b="12334"/>
          <a:stretch>
            <a:fillRect/>
          </a:stretch>
        </p:blipFill>
        <p:spPr bwMode="auto">
          <a:xfrm>
            <a:off x="10545763" y="407195"/>
            <a:ext cx="1592263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3375" y="238125"/>
            <a:ext cx="11607800" cy="3381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62707" y="1508762"/>
            <a:ext cx="11074089" cy="1436291"/>
          </a:xfrm>
        </p:spPr>
        <p:txBody>
          <a:bodyPr/>
          <a:lstStyle>
            <a:lvl1pPr>
              <a:spcBef>
                <a:spcPts val="385"/>
              </a:spcBef>
              <a:defRPr/>
            </a:lvl1pPr>
            <a:lvl2pPr marL="457200" indent="-230505">
              <a:spcBef>
                <a:spcPts val="385"/>
              </a:spcBef>
              <a:defRPr/>
            </a:lvl2pPr>
            <a:lvl3pPr marL="914400" indent="-230505">
              <a:spcBef>
                <a:spcPts val="385"/>
              </a:spcBef>
              <a:defRPr/>
            </a:lvl3pPr>
            <a:lvl4pPr marL="1374775" indent="-233680">
              <a:spcBef>
                <a:spcPts val="385"/>
              </a:spcBef>
              <a:defRPr/>
            </a:lvl4pPr>
            <a:lvl5pPr marL="2058670" indent="-230505">
              <a:spcBef>
                <a:spcPts val="38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433" tIns="45717" rIns="91433" bIns="45717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2" descr="Asia Pulp &amp; Paper 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692150"/>
            <a:ext cx="281353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574892" y="692249"/>
            <a:ext cx="2055877" cy="663994"/>
          </a:xfrm>
          <a:prstGeom prst="rect">
            <a:avLst/>
          </a:prstGeom>
        </p:spPr>
        <p:txBody>
          <a:bodyPr lIns="89993" tIns="89993" rIns="89993" bIns="89993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7905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263DB197-84B0-484E-9C0F-88358ECCB797}" type="datetimeFigureOut">
              <a:rPr lang="zh-CN" altLang="en-US" smtClean="0"/>
              <a:t>2023/10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/>
            <a:fld id="{BD5C96BA-F34F-46FC-BC5C-CE8B317285D1}" type="slidenum">
              <a:rPr lang="en-ID" strike="noStrike" noProof="1" smtClean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‹#›</a:t>
            </a:fld>
            <a:endParaRPr lang="en-ID" strike="noStrike" noProof="1"/>
          </a:p>
        </p:txBody>
      </p:sp>
    </p:spTree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39814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 rot="12911792" flipH="1" flipV="1">
            <a:off x="2790331" y="4225532"/>
            <a:ext cx="706431" cy="492914"/>
            <a:chOff x="5405974" y="1533288"/>
            <a:chExt cx="608646" cy="424685"/>
          </a:xfrm>
        </p:grpSpPr>
        <p:sp>
          <p:nvSpPr>
            <p:cNvPr id="18" name="Trapezoid 17"/>
            <p:cNvSpPr/>
            <p:nvPr/>
          </p:nvSpPr>
          <p:spPr>
            <a:xfrm rot="5912136" flipH="1">
              <a:off x="5633173" y="1617814"/>
              <a:ext cx="141626" cy="93186"/>
            </a:xfrm>
            <a:prstGeom prst="trapezoid">
              <a:avLst>
                <a:gd name="adj" fmla="val 12383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rapezoid 18"/>
            <p:cNvSpPr/>
            <p:nvPr/>
          </p:nvSpPr>
          <p:spPr>
            <a:xfrm rot="7277434" flipH="1">
              <a:off x="5857778" y="1735728"/>
              <a:ext cx="103331" cy="96694"/>
            </a:xfrm>
            <a:prstGeom prst="trapezoid">
              <a:avLst>
                <a:gd name="adj" fmla="val 12383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rapezoid 19"/>
            <p:cNvSpPr/>
            <p:nvPr/>
          </p:nvSpPr>
          <p:spPr>
            <a:xfrm rot="5912136" flipH="1">
              <a:off x="5438996" y="1500266"/>
              <a:ext cx="200130" cy="266173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rapezoid 20"/>
            <p:cNvSpPr/>
            <p:nvPr/>
          </p:nvSpPr>
          <p:spPr>
            <a:xfrm rot="7277434" flipH="1">
              <a:off x="5727739" y="1619233"/>
              <a:ext cx="146016" cy="194202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rapezoid 21"/>
            <p:cNvSpPr/>
            <p:nvPr/>
          </p:nvSpPr>
          <p:spPr>
            <a:xfrm rot="8867088" flipH="1">
              <a:off x="5921123" y="1778027"/>
              <a:ext cx="93497" cy="179946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 rot="20269720">
            <a:off x="2788843" y="4597087"/>
            <a:ext cx="773065" cy="771576"/>
            <a:chOff x="7167947" y="1624190"/>
            <a:chExt cx="2677920" cy="2672764"/>
          </a:xfrm>
          <a:solidFill>
            <a:schemeClr val="bg1"/>
          </a:solidFill>
        </p:grpSpPr>
        <p:sp>
          <p:nvSpPr>
            <p:cNvPr id="24" name="Freeform: Shape 23"/>
            <p:cNvSpPr/>
            <p:nvPr/>
          </p:nvSpPr>
          <p:spPr>
            <a:xfrm>
              <a:off x="7167947" y="1624190"/>
              <a:ext cx="2677920" cy="2672764"/>
            </a:xfrm>
            <a:custGeom>
              <a:avLst/>
              <a:gdLst>
                <a:gd name="connsiteX0" fmla="*/ 2538684 w 2677922"/>
                <a:gd name="connsiteY0" fmla="*/ 1897505 h 2672762"/>
                <a:gd name="connsiteX1" fmla="*/ 2456643 w 2677922"/>
                <a:gd name="connsiteY1" fmla="*/ 1879446 h 2672762"/>
                <a:gd name="connsiteX2" fmla="*/ 2389566 w 2677922"/>
                <a:gd name="connsiteY2" fmla="*/ 1863966 h 2672762"/>
                <a:gd name="connsiteX3" fmla="*/ 2354479 w 2677922"/>
                <a:gd name="connsiteY3" fmla="*/ 1874802 h 2672762"/>
                <a:gd name="connsiteX4" fmla="*/ 2312170 w 2677922"/>
                <a:gd name="connsiteY4" fmla="*/ 1950651 h 2672762"/>
                <a:gd name="connsiteX5" fmla="*/ 2322489 w 2677922"/>
                <a:gd name="connsiteY5" fmla="*/ 1983157 h 2672762"/>
                <a:gd name="connsiteX6" fmla="*/ 2412785 w 2677922"/>
                <a:gd name="connsiteY6" fmla="*/ 2080161 h 2672762"/>
                <a:gd name="connsiteX7" fmla="*/ 2418461 w 2677922"/>
                <a:gd name="connsiteY7" fmla="*/ 2146722 h 2672762"/>
                <a:gd name="connsiteX8" fmla="*/ 2414849 w 2677922"/>
                <a:gd name="connsiteY8" fmla="*/ 2151882 h 2672762"/>
                <a:gd name="connsiteX9" fmla="*/ 2324037 w 2677922"/>
                <a:gd name="connsiteY9" fmla="*/ 2174585 h 2672762"/>
                <a:gd name="connsiteX10" fmla="*/ 2219294 w 2677922"/>
                <a:gd name="connsiteY10" fmla="*/ 2118859 h 2672762"/>
                <a:gd name="connsiteX11" fmla="*/ 2178531 w 2677922"/>
                <a:gd name="connsiteY11" fmla="*/ 2120407 h 2672762"/>
                <a:gd name="connsiteX12" fmla="*/ 2125386 w 2677922"/>
                <a:gd name="connsiteY12" fmla="*/ 2172521 h 2672762"/>
                <a:gd name="connsiteX13" fmla="*/ 2122806 w 2677922"/>
                <a:gd name="connsiteY13" fmla="*/ 2217411 h 2672762"/>
                <a:gd name="connsiteX14" fmla="*/ 2184723 w 2677922"/>
                <a:gd name="connsiteY14" fmla="*/ 2334538 h 2672762"/>
                <a:gd name="connsiteX15" fmla="*/ 2174404 w 2677922"/>
                <a:gd name="connsiteY15" fmla="*/ 2395423 h 2672762"/>
                <a:gd name="connsiteX16" fmla="*/ 2164084 w 2677922"/>
                <a:gd name="connsiteY16" fmla="*/ 2404711 h 2672762"/>
                <a:gd name="connsiteX17" fmla="*/ 2075336 w 2677922"/>
                <a:gd name="connsiteY17" fmla="*/ 2401615 h 2672762"/>
                <a:gd name="connsiteX18" fmla="*/ 1988652 w 2677922"/>
                <a:gd name="connsiteY18" fmla="*/ 2320606 h 2672762"/>
                <a:gd name="connsiteX19" fmla="*/ 1944277 w 2677922"/>
                <a:gd name="connsiteY19" fmla="*/ 2311835 h 2672762"/>
                <a:gd name="connsiteX20" fmla="*/ 1883392 w 2677922"/>
                <a:gd name="connsiteY20" fmla="*/ 2346405 h 2672762"/>
                <a:gd name="connsiteX21" fmla="*/ 1868429 w 2677922"/>
                <a:gd name="connsiteY21" fmla="*/ 2391811 h 2672762"/>
                <a:gd name="connsiteX22" fmla="*/ 1899388 w 2677922"/>
                <a:gd name="connsiteY22" fmla="*/ 2526997 h 2672762"/>
                <a:gd name="connsiteX23" fmla="*/ 1879264 w 2677922"/>
                <a:gd name="connsiteY23" fmla="*/ 2571887 h 2672762"/>
                <a:gd name="connsiteX24" fmla="*/ 1841082 w 2677922"/>
                <a:gd name="connsiteY24" fmla="*/ 2588915 h 2672762"/>
                <a:gd name="connsiteX25" fmla="*/ 1782777 w 2677922"/>
                <a:gd name="connsiteY25" fmla="*/ 2568276 h 2672762"/>
                <a:gd name="connsiteX26" fmla="*/ 1715184 w 2677922"/>
                <a:gd name="connsiteY26" fmla="*/ 2459404 h 2672762"/>
                <a:gd name="connsiteX27" fmla="*/ 1664618 w 2677922"/>
                <a:gd name="connsiteY27" fmla="*/ 2435669 h 2672762"/>
                <a:gd name="connsiteX28" fmla="*/ 1610440 w 2677922"/>
                <a:gd name="connsiteY28" fmla="*/ 2450117 h 2672762"/>
                <a:gd name="connsiteX29" fmla="*/ 1577418 w 2677922"/>
                <a:gd name="connsiteY29" fmla="*/ 2495007 h 2672762"/>
                <a:gd name="connsiteX30" fmla="*/ 1573806 w 2677922"/>
                <a:gd name="connsiteY30" fmla="*/ 2616777 h 2672762"/>
                <a:gd name="connsiteX31" fmla="*/ 1526852 w 2677922"/>
                <a:gd name="connsiteY31" fmla="*/ 2672503 h 2672762"/>
                <a:gd name="connsiteX32" fmla="*/ 1497441 w 2677922"/>
                <a:gd name="connsiteY32" fmla="*/ 2676115 h 2672762"/>
                <a:gd name="connsiteX33" fmla="*/ 1449972 w 2677922"/>
                <a:gd name="connsiteY33" fmla="*/ 2644124 h 2672762"/>
                <a:gd name="connsiteX34" fmla="*/ 1410241 w 2677922"/>
                <a:gd name="connsiteY34" fmla="*/ 2514614 h 2672762"/>
                <a:gd name="connsiteX35" fmla="*/ 1373091 w 2677922"/>
                <a:gd name="connsiteY35" fmla="*/ 2482623 h 2672762"/>
                <a:gd name="connsiteX36" fmla="*/ 1304982 w 2677922"/>
                <a:gd name="connsiteY36" fmla="*/ 2483139 h 2672762"/>
                <a:gd name="connsiteX37" fmla="*/ 1271959 w 2677922"/>
                <a:gd name="connsiteY37" fmla="*/ 2511518 h 2672762"/>
                <a:gd name="connsiteX38" fmla="*/ 1234293 w 2677922"/>
                <a:gd name="connsiteY38" fmla="*/ 2633805 h 2672762"/>
                <a:gd name="connsiteX39" fmla="*/ 1170828 w 2677922"/>
                <a:gd name="connsiteY39" fmla="*/ 2674567 h 2672762"/>
                <a:gd name="connsiteX40" fmla="*/ 1106847 w 2677922"/>
                <a:gd name="connsiteY40" fmla="*/ 2602330 h 2672762"/>
                <a:gd name="connsiteX41" fmla="*/ 1103751 w 2677922"/>
                <a:gd name="connsiteY41" fmla="*/ 2491395 h 2672762"/>
                <a:gd name="connsiteX42" fmla="*/ 1080532 w 2677922"/>
                <a:gd name="connsiteY42" fmla="*/ 2454244 h 2672762"/>
                <a:gd name="connsiteX43" fmla="*/ 1005199 w 2677922"/>
                <a:gd name="connsiteY43" fmla="*/ 2435153 h 2672762"/>
                <a:gd name="connsiteX44" fmla="*/ 969080 w 2677922"/>
                <a:gd name="connsiteY44" fmla="*/ 2454244 h 2672762"/>
                <a:gd name="connsiteX45" fmla="*/ 900456 w 2677922"/>
                <a:gd name="connsiteY45" fmla="*/ 2564148 h 2672762"/>
                <a:gd name="connsiteX46" fmla="*/ 836474 w 2677922"/>
                <a:gd name="connsiteY46" fmla="*/ 2587367 h 2672762"/>
                <a:gd name="connsiteX47" fmla="*/ 831830 w 2677922"/>
                <a:gd name="connsiteY47" fmla="*/ 2585819 h 2672762"/>
                <a:gd name="connsiteX48" fmla="*/ 785392 w 2677922"/>
                <a:gd name="connsiteY48" fmla="*/ 2504810 h 2672762"/>
                <a:gd name="connsiteX49" fmla="*/ 811707 w 2677922"/>
                <a:gd name="connsiteY49" fmla="*/ 2390779 h 2672762"/>
                <a:gd name="connsiteX50" fmla="*/ 794680 w 2677922"/>
                <a:gd name="connsiteY50" fmla="*/ 2344341 h 2672762"/>
                <a:gd name="connsiteX51" fmla="*/ 739470 w 2677922"/>
                <a:gd name="connsiteY51" fmla="*/ 2312351 h 2672762"/>
                <a:gd name="connsiteX52" fmla="*/ 689421 w 2677922"/>
                <a:gd name="connsiteY52" fmla="*/ 2321638 h 2672762"/>
                <a:gd name="connsiteX53" fmla="*/ 596029 w 2677922"/>
                <a:gd name="connsiteY53" fmla="*/ 2408838 h 2672762"/>
                <a:gd name="connsiteX54" fmla="*/ 530500 w 2677922"/>
                <a:gd name="connsiteY54" fmla="*/ 2415030 h 2672762"/>
                <a:gd name="connsiteX55" fmla="*/ 521212 w 2677922"/>
                <a:gd name="connsiteY55" fmla="*/ 2408838 h 2672762"/>
                <a:gd name="connsiteX56" fmla="*/ 500573 w 2677922"/>
                <a:gd name="connsiteY56" fmla="*/ 2322670 h 2672762"/>
                <a:gd name="connsiteX57" fmla="*/ 556298 w 2677922"/>
                <a:gd name="connsiteY57" fmla="*/ 2217927 h 2672762"/>
                <a:gd name="connsiteX58" fmla="*/ 552171 w 2677922"/>
                <a:gd name="connsiteY58" fmla="*/ 2168909 h 2672762"/>
                <a:gd name="connsiteX59" fmla="*/ 505733 w 2677922"/>
                <a:gd name="connsiteY59" fmla="*/ 2122987 h 2672762"/>
                <a:gd name="connsiteX60" fmla="*/ 457747 w 2677922"/>
                <a:gd name="connsiteY60" fmla="*/ 2119375 h 2672762"/>
                <a:gd name="connsiteX61" fmla="*/ 341652 w 2677922"/>
                <a:gd name="connsiteY61" fmla="*/ 2180777 h 2672762"/>
                <a:gd name="connsiteX62" fmla="*/ 278187 w 2677922"/>
                <a:gd name="connsiteY62" fmla="*/ 2168909 h 2672762"/>
                <a:gd name="connsiteX63" fmla="*/ 274059 w 2677922"/>
                <a:gd name="connsiteY63" fmla="*/ 2164265 h 2672762"/>
                <a:gd name="connsiteX64" fmla="*/ 276639 w 2677922"/>
                <a:gd name="connsiteY64" fmla="*/ 2069325 h 2672762"/>
                <a:gd name="connsiteX65" fmla="*/ 354551 w 2677922"/>
                <a:gd name="connsiteY65" fmla="*/ 1986253 h 2672762"/>
                <a:gd name="connsiteX66" fmla="*/ 363839 w 2677922"/>
                <a:gd name="connsiteY66" fmla="*/ 1940847 h 2672762"/>
                <a:gd name="connsiteX67" fmla="*/ 328237 w 2677922"/>
                <a:gd name="connsiteY67" fmla="*/ 1878930 h 2672762"/>
                <a:gd name="connsiteX68" fmla="*/ 283347 w 2677922"/>
                <a:gd name="connsiteY68" fmla="*/ 1866030 h 2672762"/>
                <a:gd name="connsiteX69" fmla="*/ 170864 w 2677922"/>
                <a:gd name="connsiteY69" fmla="*/ 1891829 h 2672762"/>
                <a:gd name="connsiteX70" fmla="*/ 155900 w 2677922"/>
                <a:gd name="connsiteY70" fmla="*/ 1895441 h 2672762"/>
                <a:gd name="connsiteX71" fmla="*/ 100175 w 2677922"/>
                <a:gd name="connsiteY71" fmla="*/ 1868094 h 2672762"/>
                <a:gd name="connsiteX72" fmla="*/ 87275 w 2677922"/>
                <a:gd name="connsiteY72" fmla="*/ 1838168 h 2672762"/>
                <a:gd name="connsiteX73" fmla="*/ 107915 w 2677922"/>
                <a:gd name="connsiteY73" fmla="*/ 1779862 h 2672762"/>
                <a:gd name="connsiteX74" fmla="*/ 213690 w 2677922"/>
                <a:gd name="connsiteY74" fmla="*/ 1713817 h 2672762"/>
                <a:gd name="connsiteX75" fmla="*/ 238972 w 2677922"/>
                <a:gd name="connsiteY75" fmla="*/ 1654480 h 2672762"/>
                <a:gd name="connsiteX76" fmla="*/ 222977 w 2677922"/>
                <a:gd name="connsiteY76" fmla="*/ 1600818 h 2672762"/>
                <a:gd name="connsiteX77" fmla="*/ 184279 w 2677922"/>
                <a:gd name="connsiteY77" fmla="*/ 1575019 h 2672762"/>
                <a:gd name="connsiteX78" fmla="*/ 59413 w 2677922"/>
                <a:gd name="connsiteY78" fmla="*/ 1571407 h 2672762"/>
                <a:gd name="connsiteX79" fmla="*/ 3687 w 2677922"/>
                <a:gd name="connsiteY79" fmla="*/ 1524453 h 2672762"/>
                <a:gd name="connsiteX80" fmla="*/ 1623 w 2677922"/>
                <a:gd name="connsiteY80" fmla="*/ 1513618 h 2672762"/>
                <a:gd name="connsiteX81" fmla="*/ 48577 w 2677922"/>
                <a:gd name="connsiteY81" fmla="*/ 1442413 h 2672762"/>
                <a:gd name="connsiteX82" fmla="*/ 160544 w 2677922"/>
                <a:gd name="connsiteY82" fmla="*/ 1408358 h 2672762"/>
                <a:gd name="connsiteX83" fmla="*/ 194083 w 2677922"/>
                <a:gd name="connsiteY83" fmla="*/ 1370692 h 2672762"/>
                <a:gd name="connsiteX84" fmla="*/ 192534 w 2677922"/>
                <a:gd name="connsiteY84" fmla="*/ 1298971 h 2672762"/>
                <a:gd name="connsiteX85" fmla="*/ 166220 w 2677922"/>
                <a:gd name="connsiteY85" fmla="*/ 1269560 h 2672762"/>
                <a:gd name="connsiteX86" fmla="*/ 47029 w 2677922"/>
                <a:gd name="connsiteY86" fmla="*/ 1232926 h 2672762"/>
                <a:gd name="connsiteX87" fmla="*/ 1623 w 2677922"/>
                <a:gd name="connsiteY87" fmla="*/ 1166881 h 2672762"/>
                <a:gd name="connsiteX88" fmla="*/ 6267 w 2677922"/>
                <a:gd name="connsiteY88" fmla="*/ 1139534 h 2672762"/>
                <a:gd name="connsiteX89" fmla="*/ 49093 w 2677922"/>
                <a:gd name="connsiteY89" fmla="*/ 1105480 h 2672762"/>
                <a:gd name="connsiteX90" fmla="*/ 164672 w 2677922"/>
                <a:gd name="connsiteY90" fmla="*/ 1101868 h 2672762"/>
                <a:gd name="connsiteX91" fmla="*/ 181699 w 2677922"/>
                <a:gd name="connsiteY91" fmla="*/ 1101352 h 2672762"/>
                <a:gd name="connsiteX92" fmla="*/ 227621 w 2677922"/>
                <a:gd name="connsiteY92" fmla="*/ 1065233 h 2672762"/>
                <a:gd name="connsiteX93" fmla="*/ 241036 w 2677922"/>
                <a:gd name="connsiteY93" fmla="*/ 1014152 h 2672762"/>
                <a:gd name="connsiteX94" fmla="*/ 219366 w 2677922"/>
                <a:gd name="connsiteY94" fmla="*/ 965650 h 2672762"/>
                <a:gd name="connsiteX95" fmla="*/ 113590 w 2677922"/>
                <a:gd name="connsiteY95" fmla="*/ 899605 h 2672762"/>
                <a:gd name="connsiteX96" fmla="*/ 89855 w 2677922"/>
                <a:gd name="connsiteY96" fmla="*/ 832012 h 2672762"/>
                <a:gd name="connsiteX97" fmla="*/ 104818 w 2677922"/>
                <a:gd name="connsiteY97" fmla="*/ 799505 h 2672762"/>
                <a:gd name="connsiteX98" fmla="*/ 151256 w 2677922"/>
                <a:gd name="connsiteY98" fmla="*/ 779898 h 2672762"/>
                <a:gd name="connsiteX99" fmla="*/ 283347 w 2677922"/>
                <a:gd name="connsiteY99" fmla="*/ 810341 h 2672762"/>
                <a:gd name="connsiteX100" fmla="*/ 331332 w 2677922"/>
                <a:gd name="connsiteY100" fmla="*/ 794345 h 2672762"/>
                <a:gd name="connsiteX101" fmla="*/ 363839 w 2677922"/>
                <a:gd name="connsiteY101" fmla="*/ 737588 h 2672762"/>
                <a:gd name="connsiteX102" fmla="*/ 354551 w 2677922"/>
                <a:gd name="connsiteY102" fmla="*/ 689086 h 2672762"/>
                <a:gd name="connsiteX103" fmla="*/ 266835 w 2677922"/>
                <a:gd name="connsiteY103" fmla="*/ 595694 h 2672762"/>
                <a:gd name="connsiteX104" fmla="*/ 261675 w 2677922"/>
                <a:gd name="connsiteY104" fmla="*/ 529133 h 2672762"/>
                <a:gd name="connsiteX105" fmla="*/ 270447 w 2677922"/>
                <a:gd name="connsiteY105" fmla="*/ 516233 h 2672762"/>
                <a:gd name="connsiteX106" fmla="*/ 349907 w 2677922"/>
                <a:gd name="connsiteY106" fmla="*/ 498690 h 2672762"/>
                <a:gd name="connsiteX107" fmla="*/ 457231 w 2677922"/>
                <a:gd name="connsiteY107" fmla="*/ 555964 h 2672762"/>
                <a:gd name="connsiteX108" fmla="*/ 507797 w 2677922"/>
                <a:gd name="connsiteY108" fmla="*/ 551320 h 2672762"/>
                <a:gd name="connsiteX109" fmla="*/ 551139 w 2677922"/>
                <a:gd name="connsiteY109" fmla="*/ 508494 h 2672762"/>
                <a:gd name="connsiteX110" fmla="*/ 556815 w 2677922"/>
                <a:gd name="connsiteY110" fmla="*/ 456896 h 2672762"/>
                <a:gd name="connsiteX111" fmla="*/ 494381 w 2677922"/>
                <a:gd name="connsiteY111" fmla="*/ 339769 h 2672762"/>
                <a:gd name="connsiteX112" fmla="*/ 505217 w 2677922"/>
                <a:gd name="connsiteY112" fmla="*/ 280432 h 2672762"/>
                <a:gd name="connsiteX113" fmla="*/ 537723 w 2677922"/>
                <a:gd name="connsiteY113" fmla="*/ 256181 h 2672762"/>
                <a:gd name="connsiteX114" fmla="*/ 590353 w 2677922"/>
                <a:gd name="connsiteY114" fmla="*/ 261857 h 2672762"/>
                <a:gd name="connsiteX115" fmla="*/ 679617 w 2677922"/>
                <a:gd name="connsiteY115" fmla="*/ 344929 h 2672762"/>
                <a:gd name="connsiteX116" fmla="*/ 754950 w 2677922"/>
                <a:gd name="connsiteY116" fmla="*/ 355765 h 2672762"/>
                <a:gd name="connsiteX117" fmla="*/ 797260 w 2677922"/>
                <a:gd name="connsiteY117" fmla="*/ 329450 h 2672762"/>
                <a:gd name="connsiteX118" fmla="*/ 811707 w 2677922"/>
                <a:gd name="connsiteY118" fmla="*/ 285076 h 2672762"/>
                <a:gd name="connsiteX119" fmla="*/ 781781 w 2677922"/>
                <a:gd name="connsiteY119" fmla="*/ 156081 h 2672762"/>
                <a:gd name="connsiteX120" fmla="*/ 807064 w 2677922"/>
                <a:gd name="connsiteY120" fmla="*/ 100872 h 2672762"/>
                <a:gd name="connsiteX121" fmla="*/ 841634 w 2677922"/>
                <a:gd name="connsiteY121" fmla="*/ 86424 h 2672762"/>
                <a:gd name="connsiteX122" fmla="*/ 896328 w 2677922"/>
                <a:gd name="connsiteY122" fmla="*/ 106031 h 2672762"/>
                <a:gd name="connsiteX123" fmla="*/ 965469 w 2677922"/>
                <a:gd name="connsiteY123" fmla="*/ 217483 h 2672762"/>
                <a:gd name="connsiteX124" fmla="*/ 1013455 w 2677922"/>
                <a:gd name="connsiteY124" fmla="*/ 240702 h 2672762"/>
                <a:gd name="connsiteX125" fmla="*/ 1077952 w 2677922"/>
                <a:gd name="connsiteY125" fmla="*/ 222642 h 2672762"/>
                <a:gd name="connsiteX126" fmla="*/ 1101687 w 2677922"/>
                <a:gd name="connsiteY126" fmla="*/ 188072 h 2672762"/>
                <a:gd name="connsiteX127" fmla="*/ 1106847 w 2677922"/>
                <a:gd name="connsiteY127" fmla="*/ 53918 h 2672762"/>
                <a:gd name="connsiteX128" fmla="*/ 1145029 w 2677922"/>
                <a:gd name="connsiteY128" fmla="*/ 4900 h 2672762"/>
                <a:gd name="connsiteX129" fmla="*/ 1158960 w 2677922"/>
                <a:gd name="connsiteY129" fmla="*/ 1804 h 2672762"/>
                <a:gd name="connsiteX130" fmla="*/ 1235841 w 2677922"/>
                <a:gd name="connsiteY130" fmla="*/ 48758 h 2672762"/>
                <a:gd name="connsiteX131" fmla="*/ 1269895 w 2677922"/>
                <a:gd name="connsiteY131" fmla="*/ 162273 h 2672762"/>
                <a:gd name="connsiteX132" fmla="*/ 1303434 w 2677922"/>
                <a:gd name="connsiteY132" fmla="*/ 192716 h 2672762"/>
                <a:gd name="connsiteX133" fmla="*/ 1376702 w 2677922"/>
                <a:gd name="connsiteY133" fmla="*/ 192716 h 2672762"/>
                <a:gd name="connsiteX134" fmla="*/ 1409209 w 2677922"/>
                <a:gd name="connsiteY134" fmla="*/ 163305 h 2672762"/>
                <a:gd name="connsiteX135" fmla="*/ 1447392 w 2677922"/>
                <a:gd name="connsiteY135" fmla="*/ 37922 h 2672762"/>
                <a:gd name="connsiteX136" fmla="*/ 1499505 w 2677922"/>
                <a:gd name="connsiteY136" fmla="*/ 256 h 2672762"/>
                <a:gd name="connsiteX137" fmla="*/ 1513436 w 2677922"/>
                <a:gd name="connsiteY137" fmla="*/ 772 h 2672762"/>
                <a:gd name="connsiteX138" fmla="*/ 1573290 w 2677922"/>
                <a:gd name="connsiteY138" fmla="*/ 65269 h 2672762"/>
                <a:gd name="connsiteX139" fmla="*/ 1576902 w 2677922"/>
                <a:gd name="connsiteY139" fmla="*/ 185492 h 2672762"/>
                <a:gd name="connsiteX140" fmla="*/ 1598057 w 2677922"/>
                <a:gd name="connsiteY140" fmla="*/ 220578 h 2672762"/>
                <a:gd name="connsiteX141" fmla="*/ 1674422 w 2677922"/>
                <a:gd name="connsiteY141" fmla="*/ 240702 h 2672762"/>
                <a:gd name="connsiteX142" fmla="*/ 1710540 w 2677922"/>
                <a:gd name="connsiteY142" fmla="*/ 221610 h 2672762"/>
                <a:gd name="connsiteX143" fmla="*/ 1779165 w 2677922"/>
                <a:gd name="connsiteY143" fmla="*/ 111707 h 2672762"/>
                <a:gd name="connsiteX144" fmla="*/ 1845726 w 2677922"/>
                <a:gd name="connsiteY144" fmla="*/ 88488 h 2672762"/>
                <a:gd name="connsiteX145" fmla="*/ 1857594 w 2677922"/>
                <a:gd name="connsiteY145" fmla="*/ 92616 h 2672762"/>
                <a:gd name="connsiteX146" fmla="*/ 1895260 w 2677922"/>
                <a:gd name="connsiteY146" fmla="*/ 166401 h 2672762"/>
                <a:gd name="connsiteX147" fmla="*/ 1868429 w 2677922"/>
                <a:gd name="connsiteY147" fmla="*/ 281980 h 2672762"/>
                <a:gd name="connsiteX148" fmla="*/ 1887004 w 2677922"/>
                <a:gd name="connsiteY148" fmla="*/ 332030 h 2672762"/>
                <a:gd name="connsiteX149" fmla="*/ 1946857 w 2677922"/>
                <a:gd name="connsiteY149" fmla="*/ 365052 h 2672762"/>
                <a:gd name="connsiteX150" fmla="*/ 1986588 w 2677922"/>
                <a:gd name="connsiteY150" fmla="*/ 355765 h 2672762"/>
                <a:gd name="connsiteX151" fmla="*/ 2081528 w 2677922"/>
                <a:gd name="connsiteY151" fmla="*/ 267532 h 2672762"/>
                <a:gd name="connsiteX152" fmla="*/ 2151701 w 2677922"/>
                <a:gd name="connsiteY152" fmla="*/ 261857 h 2672762"/>
                <a:gd name="connsiteX153" fmla="*/ 2155312 w 2677922"/>
                <a:gd name="connsiteY153" fmla="*/ 264437 h 2672762"/>
                <a:gd name="connsiteX154" fmla="*/ 2177500 w 2677922"/>
                <a:gd name="connsiteY154" fmla="*/ 353701 h 2672762"/>
                <a:gd name="connsiteX155" fmla="*/ 2122290 w 2677922"/>
                <a:gd name="connsiteY155" fmla="*/ 456896 h 2672762"/>
                <a:gd name="connsiteX156" fmla="*/ 2126934 w 2677922"/>
                <a:gd name="connsiteY156" fmla="*/ 505914 h 2672762"/>
                <a:gd name="connsiteX157" fmla="*/ 2173372 w 2677922"/>
                <a:gd name="connsiteY157" fmla="*/ 551836 h 2672762"/>
                <a:gd name="connsiteX158" fmla="*/ 2219810 w 2677922"/>
                <a:gd name="connsiteY158" fmla="*/ 555964 h 2672762"/>
                <a:gd name="connsiteX159" fmla="*/ 2336937 w 2677922"/>
                <a:gd name="connsiteY159" fmla="*/ 494046 h 2672762"/>
                <a:gd name="connsiteX160" fmla="*/ 2400917 w 2677922"/>
                <a:gd name="connsiteY160" fmla="*/ 507462 h 2672762"/>
                <a:gd name="connsiteX161" fmla="*/ 2420525 w 2677922"/>
                <a:gd name="connsiteY161" fmla="*/ 533777 h 2672762"/>
                <a:gd name="connsiteX162" fmla="*/ 2415365 w 2677922"/>
                <a:gd name="connsiteY162" fmla="*/ 591566 h 2672762"/>
                <a:gd name="connsiteX163" fmla="*/ 2321973 w 2677922"/>
                <a:gd name="connsiteY163" fmla="*/ 692182 h 2672762"/>
                <a:gd name="connsiteX164" fmla="*/ 2313718 w 2677922"/>
                <a:gd name="connsiteY164" fmla="*/ 733460 h 2672762"/>
                <a:gd name="connsiteX165" fmla="*/ 2349320 w 2677922"/>
                <a:gd name="connsiteY165" fmla="*/ 795377 h 2672762"/>
                <a:gd name="connsiteX166" fmla="*/ 2394726 w 2677922"/>
                <a:gd name="connsiteY166" fmla="*/ 810341 h 2672762"/>
                <a:gd name="connsiteX167" fmla="*/ 2526816 w 2677922"/>
                <a:gd name="connsiteY167" fmla="*/ 780414 h 2672762"/>
                <a:gd name="connsiteX168" fmla="*/ 2575834 w 2677922"/>
                <a:gd name="connsiteY168" fmla="*/ 803117 h 2672762"/>
                <a:gd name="connsiteX169" fmla="*/ 2591313 w 2677922"/>
                <a:gd name="connsiteY169" fmla="*/ 838719 h 2672762"/>
                <a:gd name="connsiteX170" fmla="*/ 2570158 w 2677922"/>
                <a:gd name="connsiteY170" fmla="*/ 896509 h 2672762"/>
                <a:gd name="connsiteX171" fmla="*/ 2461287 w 2677922"/>
                <a:gd name="connsiteY171" fmla="*/ 964102 h 2672762"/>
                <a:gd name="connsiteX172" fmla="*/ 2438068 w 2677922"/>
                <a:gd name="connsiteY172" fmla="*/ 1014668 h 2672762"/>
                <a:gd name="connsiteX173" fmla="*/ 2454063 w 2677922"/>
                <a:gd name="connsiteY173" fmla="*/ 1073489 h 2672762"/>
                <a:gd name="connsiteX174" fmla="*/ 2492762 w 2677922"/>
                <a:gd name="connsiteY174" fmla="*/ 1100836 h 2672762"/>
                <a:gd name="connsiteX175" fmla="*/ 2628464 w 2677922"/>
                <a:gd name="connsiteY175" fmla="*/ 1105996 h 2672762"/>
                <a:gd name="connsiteX176" fmla="*/ 2672322 w 2677922"/>
                <a:gd name="connsiteY176" fmla="*/ 1140566 h 2672762"/>
                <a:gd name="connsiteX177" fmla="*/ 2677998 w 2677922"/>
                <a:gd name="connsiteY177" fmla="*/ 1182360 h 2672762"/>
                <a:gd name="connsiteX178" fmla="*/ 2644459 w 2677922"/>
                <a:gd name="connsiteY178" fmla="*/ 1229830 h 2672762"/>
                <a:gd name="connsiteX179" fmla="*/ 2522172 w 2677922"/>
                <a:gd name="connsiteY179" fmla="*/ 1267497 h 2672762"/>
                <a:gd name="connsiteX180" fmla="*/ 2483990 w 2677922"/>
                <a:gd name="connsiteY180" fmla="*/ 1315998 h 2672762"/>
                <a:gd name="connsiteX181" fmla="*/ 2486570 w 2677922"/>
                <a:gd name="connsiteY181" fmla="*/ 1379980 h 2672762"/>
                <a:gd name="connsiteX182" fmla="*/ 2512885 w 2677922"/>
                <a:gd name="connsiteY182" fmla="*/ 1407842 h 2672762"/>
                <a:gd name="connsiteX183" fmla="*/ 2641363 w 2677922"/>
                <a:gd name="connsiteY183" fmla="*/ 1447057 h 2672762"/>
                <a:gd name="connsiteX184" fmla="*/ 2677998 w 2677922"/>
                <a:gd name="connsiteY184" fmla="*/ 1498138 h 2672762"/>
                <a:gd name="connsiteX185" fmla="*/ 2677998 w 2677922"/>
                <a:gd name="connsiteY185" fmla="*/ 1507426 h 2672762"/>
                <a:gd name="connsiteX186" fmla="*/ 2611952 w 2677922"/>
                <a:gd name="connsiteY186" fmla="*/ 1572955 h 2672762"/>
                <a:gd name="connsiteX187" fmla="*/ 2490182 w 2677922"/>
                <a:gd name="connsiteY187" fmla="*/ 1576567 h 2672762"/>
                <a:gd name="connsiteX188" fmla="*/ 2457675 w 2677922"/>
                <a:gd name="connsiteY188" fmla="*/ 1596690 h 2672762"/>
                <a:gd name="connsiteX189" fmla="*/ 2437036 w 2677922"/>
                <a:gd name="connsiteY189" fmla="*/ 1673055 h 2672762"/>
                <a:gd name="connsiteX190" fmla="*/ 2457159 w 2677922"/>
                <a:gd name="connsiteY190" fmla="*/ 1710205 h 2672762"/>
                <a:gd name="connsiteX191" fmla="*/ 2564483 w 2677922"/>
                <a:gd name="connsiteY191" fmla="*/ 1777282 h 2672762"/>
                <a:gd name="connsiteX192" fmla="*/ 2588733 w 2677922"/>
                <a:gd name="connsiteY192" fmla="*/ 1845907 h 2672762"/>
                <a:gd name="connsiteX193" fmla="*/ 2571706 w 2677922"/>
                <a:gd name="connsiteY193" fmla="*/ 1880994 h 2672762"/>
                <a:gd name="connsiteX194" fmla="*/ 2538684 w 2677922"/>
                <a:gd name="connsiteY194" fmla="*/ 1897505 h 2672762"/>
                <a:gd name="connsiteX195" fmla="*/ 1338521 w 2677922"/>
                <a:gd name="connsiteY195" fmla="*/ 2312867 h 2672762"/>
                <a:gd name="connsiteX196" fmla="*/ 2316814 w 2677922"/>
                <a:gd name="connsiteY196" fmla="*/ 1335605 h 2672762"/>
                <a:gd name="connsiteX197" fmla="*/ 1340068 w 2677922"/>
                <a:gd name="connsiteY197" fmla="*/ 359376 h 2672762"/>
                <a:gd name="connsiteX198" fmla="*/ 361775 w 2677922"/>
                <a:gd name="connsiteY198" fmla="*/ 1331994 h 2672762"/>
                <a:gd name="connsiteX199" fmla="*/ 1338521 w 2677922"/>
                <a:gd name="connsiteY199" fmla="*/ 2312867 h 267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2677922" h="2672762">
                  <a:moveTo>
                    <a:pt x="2538684" y="1897505"/>
                  </a:moveTo>
                  <a:cubicBezTo>
                    <a:pt x="2511337" y="1891313"/>
                    <a:pt x="2483990" y="1885121"/>
                    <a:pt x="2456643" y="1879446"/>
                  </a:cubicBezTo>
                  <a:cubicBezTo>
                    <a:pt x="2434456" y="1874286"/>
                    <a:pt x="2411753" y="1869642"/>
                    <a:pt x="2389566" y="1863966"/>
                  </a:cubicBezTo>
                  <a:cubicBezTo>
                    <a:pt x="2375119" y="1860354"/>
                    <a:pt x="2363767" y="1864482"/>
                    <a:pt x="2354479" y="1874802"/>
                  </a:cubicBezTo>
                  <a:cubicBezTo>
                    <a:pt x="2335389" y="1896989"/>
                    <a:pt x="2320425" y="1922272"/>
                    <a:pt x="2312170" y="1950651"/>
                  </a:cubicBezTo>
                  <a:cubicBezTo>
                    <a:pt x="2308042" y="1964066"/>
                    <a:pt x="2314234" y="1973869"/>
                    <a:pt x="2322489" y="1983157"/>
                  </a:cubicBezTo>
                  <a:cubicBezTo>
                    <a:pt x="2352416" y="2015664"/>
                    <a:pt x="2382858" y="2048170"/>
                    <a:pt x="2412785" y="2080161"/>
                  </a:cubicBezTo>
                  <a:cubicBezTo>
                    <a:pt x="2435488" y="2104412"/>
                    <a:pt x="2436520" y="2118859"/>
                    <a:pt x="2418461" y="2146722"/>
                  </a:cubicBezTo>
                  <a:cubicBezTo>
                    <a:pt x="2417429" y="2148270"/>
                    <a:pt x="2416397" y="2150334"/>
                    <a:pt x="2414849" y="2151882"/>
                  </a:cubicBezTo>
                  <a:cubicBezTo>
                    <a:pt x="2380795" y="2197804"/>
                    <a:pt x="2365831" y="2198320"/>
                    <a:pt x="2324037" y="2174585"/>
                  </a:cubicBezTo>
                  <a:cubicBezTo>
                    <a:pt x="2289982" y="2154978"/>
                    <a:pt x="2253864" y="2137434"/>
                    <a:pt x="2219294" y="2118859"/>
                  </a:cubicBezTo>
                  <a:cubicBezTo>
                    <a:pt x="2204846" y="2111120"/>
                    <a:pt x="2191431" y="2111120"/>
                    <a:pt x="2178531" y="2120407"/>
                  </a:cubicBezTo>
                  <a:cubicBezTo>
                    <a:pt x="2157892" y="2134855"/>
                    <a:pt x="2140349" y="2152398"/>
                    <a:pt x="2125386" y="2172521"/>
                  </a:cubicBezTo>
                  <a:cubicBezTo>
                    <a:pt x="2114550" y="2186968"/>
                    <a:pt x="2114034" y="2201416"/>
                    <a:pt x="2122806" y="2217411"/>
                  </a:cubicBezTo>
                  <a:cubicBezTo>
                    <a:pt x="2143961" y="2256109"/>
                    <a:pt x="2164600" y="2295323"/>
                    <a:pt x="2184723" y="2334538"/>
                  </a:cubicBezTo>
                  <a:cubicBezTo>
                    <a:pt x="2198655" y="2361885"/>
                    <a:pt x="2196591" y="2374268"/>
                    <a:pt x="2174404" y="2395423"/>
                  </a:cubicBezTo>
                  <a:cubicBezTo>
                    <a:pt x="2170792" y="2398519"/>
                    <a:pt x="2167696" y="2402131"/>
                    <a:pt x="2164084" y="2404711"/>
                  </a:cubicBezTo>
                  <a:cubicBezTo>
                    <a:pt x="2131062" y="2428962"/>
                    <a:pt x="2114034" y="2440829"/>
                    <a:pt x="2075336" y="2401615"/>
                  </a:cubicBezTo>
                  <a:cubicBezTo>
                    <a:pt x="2047473" y="2373236"/>
                    <a:pt x="2017547" y="2347953"/>
                    <a:pt x="1988652" y="2320606"/>
                  </a:cubicBezTo>
                  <a:cubicBezTo>
                    <a:pt x="1975236" y="2307707"/>
                    <a:pt x="1960789" y="2305127"/>
                    <a:pt x="1944277" y="2311835"/>
                  </a:cubicBezTo>
                  <a:cubicBezTo>
                    <a:pt x="1922607" y="2320606"/>
                    <a:pt x="1901968" y="2331958"/>
                    <a:pt x="1883392" y="2346405"/>
                  </a:cubicBezTo>
                  <a:cubicBezTo>
                    <a:pt x="1867913" y="2358273"/>
                    <a:pt x="1863785" y="2373236"/>
                    <a:pt x="1868429" y="2391811"/>
                  </a:cubicBezTo>
                  <a:cubicBezTo>
                    <a:pt x="1879264" y="2436701"/>
                    <a:pt x="1889584" y="2482107"/>
                    <a:pt x="1899388" y="2526997"/>
                  </a:cubicBezTo>
                  <a:cubicBezTo>
                    <a:pt x="1903516" y="2546604"/>
                    <a:pt x="1896808" y="2561568"/>
                    <a:pt x="1879264" y="2571887"/>
                  </a:cubicBezTo>
                  <a:cubicBezTo>
                    <a:pt x="1867397" y="2579111"/>
                    <a:pt x="1854498" y="2584787"/>
                    <a:pt x="1841082" y="2588915"/>
                  </a:cubicBezTo>
                  <a:cubicBezTo>
                    <a:pt x="1813736" y="2597686"/>
                    <a:pt x="1798256" y="2592526"/>
                    <a:pt x="1782777" y="2568276"/>
                  </a:cubicBezTo>
                  <a:cubicBezTo>
                    <a:pt x="1760074" y="2532157"/>
                    <a:pt x="1736855" y="2496555"/>
                    <a:pt x="1715184" y="2459404"/>
                  </a:cubicBezTo>
                  <a:cubicBezTo>
                    <a:pt x="1703316" y="2439281"/>
                    <a:pt x="1687837" y="2431542"/>
                    <a:pt x="1664618" y="2435669"/>
                  </a:cubicBezTo>
                  <a:cubicBezTo>
                    <a:pt x="1646043" y="2439281"/>
                    <a:pt x="1627984" y="2443925"/>
                    <a:pt x="1610440" y="2450117"/>
                  </a:cubicBezTo>
                  <a:cubicBezTo>
                    <a:pt x="1586190" y="2458888"/>
                    <a:pt x="1578450" y="2469208"/>
                    <a:pt x="1577418" y="2495007"/>
                  </a:cubicBezTo>
                  <a:cubicBezTo>
                    <a:pt x="1575870" y="2535769"/>
                    <a:pt x="1574838" y="2576015"/>
                    <a:pt x="1573806" y="2616777"/>
                  </a:cubicBezTo>
                  <a:cubicBezTo>
                    <a:pt x="1572774" y="2653928"/>
                    <a:pt x="1563487" y="2665795"/>
                    <a:pt x="1526852" y="2672503"/>
                  </a:cubicBezTo>
                  <a:cubicBezTo>
                    <a:pt x="1517049" y="2674567"/>
                    <a:pt x="1507245" y="2675599"/>
                    <a:pt x="1497441" y="2676115"/>
                  </a:cubicBezTo>
                  <a:cubicBezTo>
                    <a:pt x="1473191" y="2677663"/>
                    <a:pt x="1457711" y="2667859"/>
                    <a:pt x="1449972" y="2644124"/>
                  </a:cubicBezTo>
                  <a:cubicBezTo>
                    <a:pt x="1436040" y="2600782"/>
                    <a:pt x="1422624" y="2557956"/>
                    <a:pt x="1410241" y="2514614"/>
                  </a:cubicBezTo>
                  <a:cubicBezTo>
                    <a:pt x="1404565" y="2495007"/>
                    <a:pt x="1392698" y="2485719"/>
                    <a:pt x="1373091" y="2482623"/>
                  </a:cubicBezTo>
                  <a:cubicBezTo>
                    <a:pt x="1350388" y="2479527"/>
                    <a:pt x="1327685" y="2479527"/>
                    <a:pt x="1304982" y="2483139"/>
                  </a:cubicBezTo>
                  <a:cubicBezTo>
                    <a:pt x="1287955" y="2485719"/>
                    <a:pt x="1277119" y="2494491"/>
                    <a:pt x="1271959" y="2511518"/>
                  </a:cubicBezTo>
                  <a:cubicBezTo>
                    <a:pt x="1260092" y="2552280"/>
                    <a:pt x="1247192" y="2593042"/>
                    <a:pt x="1234293" y="2633805"/>
                  </a:cubicBezTo>
                  <a:cubicBezTo>
                    <a:pt x="1222941" y="2670439"/>
                    <a:pt x="1208494" y="2679727"/>
                    <a:pt x="1170828" y="2674567"/>
                  </a:cubicBezTo>
                  <a:cubicBezTo>
                    <a:pt x="1114070" y="2666827"/>
                    <a:pt x="1107362" y="2659087"/>
                    <a:pt x="1106847" y="2602330"/>
                  </a:cubicBezTo>
                  <a:cubicBezTo>
                    <a:pt x="1106331" y="2565180"/>
                    <a:pt x="1104783" y="2528545"/>
                    <a:pt x="1103751" y="2491395"/>
                  </a:cubicBezTo>
                  <a:cubicBezTo>
                    <a:pt x="1103234" y="2474368"/>
                    <a:pt x="1096527" y="2460952"/>
                    <a:pt x="1080532" y="2454244"/>
                  </a:cubicBezTo>
                  <a:cubicBezTo>
                    <a:pt x="1056281" y="2443925"/>
                    <a:pt x="1031514" y="2436701"/>
                    <a:pt x="1005199" y="2435153"/>
                  </a:cubicBezTo>
                  <a:cubicBezTo>
                    <a:pt x="989203" y="2434121"/>
                    <a:pt x="977852" y="2440313"/>
                    <a:pt x="969080" y="2454244"/>
                  </a:cubicBezTo>
                  <a:cubicBezTo>
                    <a:pt x="946894" y="2491395"/>
                    <a:pt x="923159" y="2527513"/>
                    <a:pt x="900456" y="2564148"/>
                  </a:cubicBezTo>
                  <a:cubicBezTo>
                    <a:pt x="882396" y="2593042"/>
                    <a:pt x="868465" y="2598202"/>
                    <a:pt x="836474" y="2587367"/>
                  </a:cubicBezTo>
                  <a:cubicBezTo>
                    <a:pt x="834926" y="2586851"/>
                    <a:pt x="833379" y="2586335"/>
                    <a:pt x="831830" y="2585819"/>
                  </a:cubicBezTo>
                  <a:cubicBezTo>
                    <a:pt x="782297" y="2565696"/>
                    <a:pt x="772493" y="2554344"/>
                    <a:pt x="785392" y="2504810"/>
                  </a:cubicBezTo>
                  <a:cubicBezTo>
                    <a:pt x="795196" y="2467144"/>
                    <a:pt x="802420" y="2428962"/>
                    <a:pt x="811707" y="2390779"/>
                  </a:cubicBezTo>
                  <a:cubicBezTo>
                    <a:pt x="816351" y="2371172"/>
                    <a:pt x="811191" y="2356209"/>
                    <a:pt x="794680" y="2344341"/>
                  </a:cubicBezTo>
                  <a:cubicBezTo>
                    <a:pt x="777137" y="2331958"/>
                    <a:pt x="759078" y="2321122"/>
                    <a:pt x="739470" y="2312351"/>
                  </a:cubicBezTo>
                  <a:cubicBezTo>
                    <a:pt x="720895" y="2304095"/>
                    <a:pt x="704900" y="2307191"/>
                    <a:pt x="689421" y="2321638"/>
                  </a:cubicBezTo>
                  <a:cubicBezTo>
                    <a:pt x="658462" y="2351049"/>
                    <a:pt x="626988" y="2379944"/>
                    <a:pt x="596029" y="2408838"/>
                  </a:cubicBezTo>
                  <a:cubicBezTo>
                    <a:pt x="572810" y="2431026"/>
                    <a:pt x="557847" y="2432057"/>
                    <a:pt x="530500" y="2415030"/>
                  </a:cubicBezTo>
                  <a:cubicBezTo>
                    <a:pt x="527404" y="2412966"/>
                    <a:pt x="524308" y="2410902"/>
                    <a:pt x="521212" y="2408838"/>
                  </a:cubicBezTo>
                  <a:cubicBezTo>
                    <a:pt x="481482" y="2380460"/>
                    <a:pt x="477870" y="2365496"/>
                    <a:pt x="500573" y="2322670"/>
                  </a:cubicBezTo>
                  <a:cubicBezTo>
                    <a:pt x="519148" y="2287584"/>
                    <a:pt x="537207" y="2252497"/>
                    <a:pt x="556298" y="2217927"/>
                  </a:cubicBezTo>
                  <a:cubicBezTo>
                    <a:pt x="566102" y="2199868"/>
                    <a:pt x="564555" y="2184388"/>
                    <a:pt x="552171" y="2168909"/>
                  </a:cubicBezTo>
                  <a:cubicBezTo>
                    <a:pt x="538756" y="2151882"/>
                    <a:pt x="523276" y="2136402"/>
                    <a:pt x="505733" y="2122987"/>
                  </a:cubicBezTo>
                  <a:cubicBezTo>
                    <a:pt x="490254" y="2111120"/>
                    <a:pt x="474774" y="2110088"/>
                    <a:pt x="457747" y="2119375"/>
                  </a:cubicBezTo>
                  <a:cubicBezTo>
                    <a:pt x="419564" y="2140014"/>
                    <a:pt x="380866" y="2160653"/>
                    <a:pt x="341652" y="2180777"/>
                  </a:cubicBezTo>
                  <a:cubicBezTo>
                    <a:pt x="314305" y="2195224"/>
                    <a:pt x="298310" y="2191612"/>
                    <a:pt x="278187" y="2168909"/>
                  </a:cubicBezTo>
                  <a:cubicBezTo>
                    <a:pt x="276639" y="2167361"/>
                    <a:pt x="275607" y="2165813"/>
                    <a:pt x="274059" y="2164265"/>
                  </a:cubicBezTo>
                  <a:cubicBezTo>
                    <a:pt x="238456" y="2122987"/>
                    <a:pt x="238972" y="2108540"/>
                    <a:pt x="276639" y="2069325"/>
                  </a:cubicBezTo>
                  <a:cubicBezTo>
                    <a:pt x="302954" y="2041463"/>
                    <a:pt x="327721" y="2013084"/>
                    <a:pt x="354551" y="1986253"/>
                  </a:cubicBezTo>
                  <a:cubicBezTo>
                    <a:pt x="367967" y="1972322"/>
                    <a:pt x="370547" y="1957874"/>
                    <a:pt x="363839" y="1940847"/>
                  </a:cubicBezTo>
                  <a:cubicBezTo>
                    <a:pt x="355067" y="1918660"/>
                    <a:pt x="342684" y="1898021"/>
                    <a:pt x="328237" y="1878930"/>
                  </a:cubicBezTo>
                  <a:cubicBezTo>
                    <a:pt x="316369" y="1863450"/>
                    <a:pt x="300374" y="1861902"/>
                    <a:pt x="283347" y="1866030"/>
                  </a:cubicBezTo>
                  <a:cubicBezTo>
                    <a:pt x="245680" y="1874802"/>
                    <a:pt x="208530" y="1883573"/>
                    <a:pt x="170864" y="1891829"/>
                  </a:cubicBezTo>
                  <a:cubicBezTo>
                    <a:pt x="165704" y="1892861"/>
                    <a:pt x="160544" y="1894409"/>
                    <a:pt x="155900" y="1895441"/>
                  </a:cubicBezTo>
                  <a:cubicBezTo>
                    <a:pt x="127521" y="1900601"/>
                    <a:pt x="113074" y="1893893"/>
                    <a:pt x="100175" y="1868094"/>
                  </a:cubicBezTo>
                  <a:cubicBezTo>
                    <a:pt x="95531" y="1858291"/>
                    <a:pt x="90887" y="1848487"/>
                    <a:pt x="87275" y="1838168"/>
                  </a:cubicBezTo>
                  <a:cubicBezTo>
                    <a:pt x="77988" y="1810821"/>
                    <a:pt x="83147" y="1795341"/>
                    <a:pt x="107915" y="1779862"/>
                  </a:cubicBezTo>
                  <a:cubicBezTo>
                    <a:pt x="143001" y="1757675"/>
                    <a:pt x="178603" y="1735488"/>
                    <a:pt x="213690" y="1713817"/>
                  </a:cubicBezTo>
                  <a:cubicBezTo>
                    <a:pt x="241552" y="1696274"/>
                    <a:pt x="245680" y="1686470"/>
                    <a:pt x="238972" y="1654480"/>
                  </a:cubicBezTo>
                  <a:cubicBezTo>
                    <a:pt x="234845" y="1636420"/>
                    <a:pt x="230201" y="1617845"/>
                    <a:pt x="222977" y="1600818"/>
                  </a:cubicBezTo>
                  <a:cubicBezTo>
                    <a:pt x="215753" y="1583791"/>
                    <a:pt x="203370" y="1575535"/>
                    <a:pt x="184279" y="1575019"/>
                  </a:cubicBezTo>
                  <a:cubicBezTo>
                    <a:pt x="142485" y="1574503"/>
                    <a:pt x="101207" y="1572955"/>
                    <a:pt x="59413" y="1571407"/>
                  </a:cubicBezTo>
                  <a:cubicBezTo>
                    <a:pt x="21746" y="1570375"/>
                    <a:pt x="10395" y="1560572"/>
                    <a:pt x="3687" y="1524453"/>
                  </a:cubicBezTo>
                  <a:cubicBezTo>
                    <a:pt x="3171" y="1520841"/>
                    <a:pt x="2139" y="1517230"/>
                    <a:pt x="1623" y="1513618"/>
                  </a:cubicBezTo>
                  <a:cubicBezTo>
                    <a:pt x="-4053" y="1467696"/>
                    <a:pt x="3687" y="1455828"/>
                    <a:pt x="48577" y="1442413"/>
                  </a:cubicBezTo>
                  <a:cubicBezTo>
                    <a:pt x="85727" y="1431061"/>
                    <a:pt x="122877" y="1418678"/>
                    <a:pt x="160544" y="1408358"/>
                  </a:cubicBezTo>
                  <a:cubicBezTo>
                    <a:pt x="181183" y="1402683"/>
                    <a:pt x="192018" y="1390815"/>
                    <a:pt x="194083" y="1370692"/>
                  </a:cubicBezTo>
                  <a:cubicBezTo>
                    <a:pt x="196147" y="1346957"/>
                    <a:pt x="197178" y="1322706"/>
                    <a:pt x="192534" y="1298971"/>
                  </a:cubicBezTo>
                  <a:cubicBezTo>
                    <a:pt x="189954" y="1283492"/>
                    <a:pt x="181183" y="1274204"/>
                    <a:pt x="166220" y="1269560"/>
                  </a:cubicBezTo>
                  <a:cubicBezTo>
                    <a:pt x="126490" y="1257693"/>
                    <a:pt x="86759" y="1245310"/>
                    <a:pt x="47029" y="1232926"/>
                  </a:cubicBezTo>
                  <a:cubicBezTo>
                    <a:pt x="3687" y="1219511"/>
                    <a:pt x="-957" y="1212287"/>
                    <a:pt x="1623" y="1166881"/>
                  </a:cubicBezTo>
                  <a:cubicBezTo>
                    <a:pt x="2139" y="1157593"/>
                    <a:pt x="4203" y="1148306"/>
                    <a:pt x="6267" y="1139534"/>
                  </a:cubicBezTo>
                  <a:cubicBezTo>
                    <a:pt x="12459" y="1116831"/>
                    <a:pt x="25358" y="1106512"/>
                    <a:pt x="49093" y="1105480"/>
                  </a:cubicBezTo>
                  <a:cubicBezTo>
                    <a:pt x="87791" y="1103932"/>
                    <a:pt x="125974" y="1102900"/>
                    <a:pt x="164672" y="1101868"/>
                  </a:cubicBezTo>
                  <a:cubicBezTo>
                    <a:pt x="170348" y="1101868"/>
                    <a:pt x="176023" y="1101352"/>
                    <a:pt x="181699" y="1101352"/>
                  </a:cubicBezTo>
                  <a:cubicBezTo>
                    <a:pt x="207498" y="1102384"/>
                    <a:pt x="220913" y="1087936"/>
                    <a:pt x="227621" y="1065233"/>
                  </a:cubicBezTo>
                  <a:cubicBezTo>
                    <a:pt x="232781" y="1048206"/>
                    <a:pt x="237425" y="1031179"/>
                    <a:pt x="241036" y="1014152"/>
                  </a:cubicBezTo>
                  <a:cubicBezTo>
                    <a:pt x="245680" y="990417"/>
                    <a:pt x="240005" y="979065"/>
                    <a:pt x="219366" y="965650"/>
                  </a:cubicBezTo>
                  <a:cubicBezTo>
                    <a:pt x="184279" y="943463"/>
                    <a:pt x="148676" y="921276"/>
                    <a:pt x="113590" y="899605"/>
                  </a:cubicBezTo>
                  <a:cubicBezTo>
                    <a:pt x="82116" y="879997"/>
                    <a:pt x="77472" y="867614"/>
                    <a:pt x="89855" y="832012"/>
                  </a:cubicBezTo>
                  <a:cubicBezTo>
                    <a:pt x="93467" y="820660"/>
                    <a:pt x="98111" y="809309"/>
                    <a:pt x="104818" y="799505"/>
                  </a:cubicBezTo>
                  <a:cubicBezTo>
                    <a:pt x="115654" y="782994"/>
                    <a:pt x="130617" y="774738"/>
                    <a:pt x="151256" y="779898"/>
                  </a:cubicBezTo>
                  <a:cubicBezTo>
                    <a:pt x="195114" y="790217"/>
                    <a:pt x="239489" y="799505"/>
                    <a:pt x="283347" y="810341"/>
                  </a:cubicBezTo>
                  <a:cubicBezTo>
                    <a:pt x="303469" y="815500"/>
                    <a:pt x="318949" y="810857"/>
                    <a:pt x="331332" y="794345"/>
                  </a:cubicBezTo>
                  <a:cubicBezTo>
                    <a:pt x="344232" y="776802"/>
                    <a:pt x="355584" y="757711"/>
                    <a:pt x="363839" y="737588"/>
                  </a:cubicBezTo>
                  <a:cubicBezTo>
                    <a:pt x="371063" y="719529"/>
                    <a:pt x="368999" y="704049"/>
                    <a:pt x="354551" y="689086"/>
                  </a:cubicBezTo>
                  <a:cubicBezTo>
                    <a:pt x="324625" y="658643"/>
                    <a:pt x="296246" y="627169"/>
                    <a:pt x="266835" y="595694"/>
                  </a:cubicBezTo>
                  <a:cubicBezTo>
                    <a:pt x="244132" y="570927"/>
                    <a:pt x="243100" y="556996"/>
                    <a:pt x="261675" y="529133"/>
                  </a:cubicBezTo>
                  <a:cubicBezTo>
                    <a:pt x="264771" y="525005"/>
                    <a:pt x="267351" y="520361"/>
                    <a:pt x="270447" y="516233"/>
                  </a:cubicBezTo>
                  <a:cubicBezTo>
                    <a:pt x="296762" y="481663"/>
                    <a:pt x="311209" y="478567"/>
                    <a:pt x="349907" y="498690"/>
                  </a:cubicBezTo>
                  <a:cubicBezTo>
                    <a:pt x="386026" y="517781"/>
                    <a:pt x="422144" y="536357"/>
                    <a:pt x="457231" y="555964"/>
                  </a:cubicBezTo>
                  <a:cubicBezTo>
                    <a:pt x="475806" y="566283"/>
                    <a:pt x="492318" y="564219"/>
                    <a:pt x="507797" y="551320"/>
                  </a:cubicBezTo>
                  <a:cubicBezTo>
                    <a:pt x="523276" y="538421"/>
                    <a:pt x="537723" y="523973"/>
                    <a:pt x="551139" y="508494"/>
                  </a:cubicBezTo>
                  <a:cubicBezTo>
                    <a:pt x="564555" y="492499"/>
                    <a:pt x="567650" y="476503"/>
                    <a:pt x="556815" y="456896"/>
                  </a:cubicBezTo>
                  <a:cubicBezTo>
                    <a:pt x="535143" y="418198"/>
                    <a:pt x="515020" y="378983"/>
                    <a:pt x="494381" y="339769"/>
                  </a:cubicBezTo>
                  <a:cubicBezTo>
                    <a:pt x="480966" y="313970"/>
                    <a:pt x="484062" y="300039"/>
                    <a:pt x="505217" y="280432"/>
                  </a:cubicBezTo>
                  <a:cubicBezTo>
                    <a:pt x="515020" y="271144"/>
                    <a:pt x="525856" y="263405"/>
                    <a:pt x="537723" y="256181"/>
                  </a:cubicBezTo>
                  <a:cubicBezTo>
                    <a:pt x="558362" y="244313"/>
                    <a:pt x="572810" y="245861"/>
                    <a:pt x="590353" y="261857"/>
                  </a:cubicBezTo>
                  <a:cubicBezTo>
                    <a:pt x="620280" y="289203"/>
                    <a:pt x="650207" y="317066"/>
                    <a:pt x="679617" y="344929"/>
                  </a:cubicBezTo>
                  <a:cubicBezTo>
                    <a:pt x="710576" y="374340"/>
                    <a:pt x="717284" y="375372"/>
                    <a:pt x="754950" y="355765"/>
                  </a:cubicBezTo>
                  <a:cubicBezTo>
                    <a:pt x="769913" y="348025"/>
                    <a:pt x="783845" y="339769"/>
                    <a:pt x="797260" y="329450"/>
                  </a:cubicBezTo>
                  <a:cubicBezTo>
                    <a:pt x="811707" y="317582"/>
                    <a:pt x="816351" y="303651"/>
                    <a:pt x="811707" y="285076"/>
                  </a:cubicBezTo>
                  <a:cubicBezTo>
                    <a:pt x="800872" y="242249"/>
                    <a:pt x="791585" y="198907"/>
                    <a:pt x="781781" y="156081"/>
                  </a:cubicBezTo>
                  <a:cubicBezTo>
                    <a:pt x="775589" y="128218"/>
                    <a:pt x="782297" y="114287"/>
                    <a:pt x="807064" y="100872"/>
                  </a:cubicBezTo>
                  <a:cubicBezTo>
                    <a:pt x="818415" y="95196"/>
                    <a:pt x="829766" y="90552"/>
                    <a:pt x="841634" y="86424"/>
                  </a:cubicBezTo>
                  <a:cubicBezTo>
                    <a:pt x="866917" y="78685"/>
                    <a:pt x="881364" y="83328"/>
                    <a:pt x="896328" y="106031"/>
                  </a:cubicBezTo>
                  <a:cubicBezTo>
                    <a:pt x="920062" y="142666"/>
                    <a:pt x="943798" y="179300"/>
                    <a:pt x="965469" y="217483"/>
                  </a:cubicBezTo>
                  <a:cubicBezTo>
                    <a:pt x="976820" y="237090"/>
                    <a:pt x="992299" y="243797"/>
                    <a:pt x="1013455" y="240702"/>
                  </a:cubicBezTo>
                  <a:cubicBezTo>
                    <a:pt x="1035641" y="237090"/>
                    <a:pt x="1057313" y="231414"/>
                    <a:pt x="1077952" y="222642"/>
                  </a:cubicBezTo>
                  <a:cubicBezTo>
                    <a:pt x="1092915" y="215935"/>
                    <a:pt x="1101171" y="205615"/>
                    <a:pt x="1101687" y="188072"/>
                  </a:cubicBezTo>
                  <a:cubicBezTo>
                    <a:pt x="1102719" y="143182"/>
                    <a:pt x="1105298" y="98808"/>
                    <a:pt x="1106847" y="53918"/>
                  </a:cubicBezTo>
                  <a:cubicBezTo>
                    <a:pt x="1107878" y="25023"/>
                    <a:pt x="1117166" y="12640"/>
                    <a:pt x="1145029" y="4900"/>
                  </a:cubicBezTo>
                  <a:cubicBezTo>
                    <a:pt x="1149672" y="3868"/>
                    <a:pt x="1154316" y="2320"/>
                    <a:pt x="1158960" y="1804"/>
                  </a:cubicBezTo>
                  <a:cubicBezTo>
                    <a:pt x="1210042" y="-3872"/>
                    <a:pt x="1222426" y="1804"/>
                    <a:pt x="1235841" y="48758"/>
                  </a:cubicBezTo>
                  <a:cubicBezTo>
                    <a:pt x="1246676" y="86940"/>
                    <a:pt x="1259576" y="124091"/>
                    <a:pt x="1269895" y="162273"/>
                  </a:cubicBezTo>
                  <a:cubicBezTo>
                    <a:pt x="1275055" y="180332"/>
                    <a:pt x="1285890" y="190136"/>
                    <a:pt x="1303434" y="192716"/>
                  </a:cubicBezTo>
                  <a:cubicBezTo>
                    <a:pt x="1327685" y="195812"/>
                    <a:pt x="1352452" y="195812"/>
                    <a:pt x="1376702" y="192716"/>
                  </a:cubicBezTo>
                  <a:cubicBezTo>
                    <a:pt x="1393730" y="190652"/>
                    <a:pt x="1404049" y="180332"/>
                    <a:pt x="1409209" y="163305"/>
                  </a:cubicBezTo>
                  <a:cubicBezTo>
                    <a:pt x="1421593" y="121511"/>
                    <a:pt x="1434492" y="79717"/>
                    <a:pt x="1447392" y="37922"/>
                  </a:cubicBezTo>
                  <a:cubicBezTo>
                    <a:pt x="1457195" y="6964"/>
                    <a:pt x="1466998" y="-260"/>
                    <a:pt x="1499505" y="256"/>
                  </a:cubicBezTo>
                  <a:cubicBezTo>
                    <a:pt x="1504149" y="256"/>
                    <a:pt x="1508793" y="256"/>
                    <a:pt x="1513436" y="772"/>
                  </a:cubicBezTo>
                  <a:cubicBezTo>
                    <a:pt x="1559358" y="5416"/>
                    <a:pt x="1572258" y="19347"/>
                    <a:pt x="1573290" y="65269"/>
                  </a:cubicBezTo>
                  <a:cubicBezTo>
                    <a:pt x="1574322" y="105515"/>
                    <a:pt x="1575870" y="145246"/>
                    <a:pt x="1576902" y="185492"/>
                  </a:cubicBezTo>
                  <a:cubicBezTo>
                    <a:pt x="1577418" y="201487"/>
                    <a:pt x="1583093" y="213871"/>
                    <a:pt x="1598057" y="220578"/>
                  </a:cubicBezTo>
                  <a:cubicBezTo>
                    <a:pt x="1622308" y="231414"/>
                    <a:pt x="1647590" y="238638"/>
                    <a:pt x="1674422" y="240702"/>
                  </a:cubicBezTo>
                  <a:cubicBezTo>
                    <a:pt x="1690933" y="241733"/>
                    <a:pt x="1702285" y="235026"/>
                    <a:pt x="1710540" y="221610"/>
                  </a:cubicBezTo>
                  <a:cubicBezTo>
                    <a:pt x="1733243" y="184976"/>
                    <a:pt x="1756462" y="148342"/>
                    <a:pt x="1779165" y="111707"/>
                  </a:cubicBezTo>
                  <a:cubicBezTo>
                    <a:pt x="1798772" y="80749"/>
                    <a:pt x="1810640" y="76621"/>
                    <a:pt x="1845726" y="88488"/>
                  </a:cubicBezTo>
                  <a:cubicBezTo>
                    <a:pt x="1849854" y="90036"/>
                    <a:pt x="1853466" y="91068"/>
                    <a:pt x="1857594" y="92616"/>
                  </a:cubicBezTo>
                  <a:cubicBezTo>
                    <a:pt x="1898356" y="110159"/>
                    <a:pt x="1905063" y="123059"/>
                    <a:pt x="1895260" y="166401"/>
                  </a:cubicBezTo>
                  <a:cubicBezTo>
                    <a:pt x="1886488" y="205099"/>
                    <a:pt x="1877717" y="243281"/>
                    <a:pt x="1868429" y="281980"/>
                  </a:cubicBezTo>
                  <a:cubicBezTo>
                    <a:pt x="1863269" y="303135"/>
                    <a:pt x="1868429" y="319646"/>
                    <a:pt x="1887004" y="332030"/>
                  </a:cubicBezTo>
                  <a:cubicBezTo>
                    <a:pt x="1906096" y="344929"/>
                    <a:pt x="1925187" y="356796"/>
                    <a:pt x="1946857" y="365052"/>
                  </a:cubicBezTo>
                  <a:cubicBezTo>
                    <a:pt x="1962337" y="370728"/>
                    <a:pt x="1974720" y="367116"/>
                    <a:pt x="1986588" y="355765"/>
                  </a:cubicBezTo>
                  <a:cubicBezTo>
                    <a:pt x="2018062" y="325838"/>
                    <a:pt x="2049537" y="296943"/>
                    <a:pt x="2081528" y="267532"/>
                  </a:cubicBezTo>
                  <a:cubicBezTo>
                    <a:pt x="2107843" y="242765"/>
                    <a:pt x="2122290" y="241733"/>
                    <a:pt x="2151701" y="261857"/>
                  </a:cubicBezTo>
                  <a:cubicBezTo>
                    <a:pt x="2153248" y="262889"/>
                    <a:pt x="2154281" y="263405"/>
                    <a:pt x="2155312" y="264437"/>
                  </a:cubicBezTo>
                  <a:cubicBezTo>
                    <a:pt x="2205363" y="300555"/>
                    <a:pt x="2198139" y="316034"/>
                    <a:pt x="2177500" y="353701"/>
                  </a:cubicBezTo>
                  <a:cubicBezTo>
                    <a:pt x="2158925" y="387755"/>
                    <a:pt x="2141381" y="422842"/>
                    <a:pt x="2122290" y="456896"/>
                  </a:cubicBezTo>
                  <a:cubicBezTo>
                    <a:pt x="2112487" y="474955"/>
                    <a:pt x="2114550" y="490435"/>
                    <a:pt x="2126934" y="505914"/>
                  </a:cubicBezTo>
                  <a:cubicBezTo>
                    <a:pt x="2140865" y="522941"/>
                    <a:pt x="2156345" y="538421"/>
                    <a:pt x="2173372" y="551836"/>
                  </a:cubicBezTo>
                  <a:cubicBezTo>
                    <a:pt x="2187819" y="563187"/>
                    <a:pt x="2202783" y="564735"/>
                    <a:pt x="2219810" y="555964"/>
                  </a:cubicBezTo>
                  <a:cubicBezTo>
                    <a:pt x="2258508" y="534809"/>
                    <a:pt x="2297722" y="514170"/>
                    <a:pt x="2336937" y="494046"/>
                  </a:cubicBezTo>
                  <a:cubicBezTo>
                    <a:pt x="2364799" y="479599"/>
                    <a:pt x="2380795" y="482695"/>
                    <a:pt x="2400917" y="507462"/>
                  </a:cubicBezTo>
                  <a:cubicBezTo>
                    <a:pt x="2408141" y="515717"/>
                    <a:pt x="2414849" y="524489"/>
                    <a:pt x="2420525" y="533777"/>
                  </a:cubicBezTo>
                  <a:cubicBezTo>
                    <a:pt x="2434972" y="556480"/>
                    <a:pt x="2433424" y="571443"/>
                    <a:pt x="2415365" y="591566"/>
                  </a:cubicBezTo>
                  <a:cubicBezTo>
                    <a:pt x="2384406" y="625105"/>
                    <a:pt x="2353448" y="659159"/>
                    <a:pt x="2321973" y="692182"/>
                  </a:cubicBezTo>
                  <a:cubicBezTo>
                    <a:pt x="2310106" y="704565"/>
                    <a:pt x="2307526" y="717981"/>
                    <a:pt x="2313718" y="733460"/>
                  </a:cubicBezTo>
                  <a:cubicBezTo>
                    <a:pt x="2323005" y="755647"/>
                    <a:pt x="2334357" y="776286"/>
                    <a:pt x="2349320" y="795377"/>
                  </a:cubicBezTo>
                  <a:cubicBezTo>
                    <a:pt x="2361187" y="810857"/>
                    <a:pt x="2375635" y="814984"/>
                    <a:pt x="2394726" y="810341"/>
                  </a:cubicBezTo>
                  <a:cubicBezTo>
                    <a:pt x="2438584" y="799505"/>
                    <a:pt x="2482958" y="789701"/>
                    <a:pt x="2526816" y="780414"/>
                  </a:cubicBezTo>
                  <a:cubicBezTo>
                    <a:pt x="2550035" y="775254"/>
                    <a:pt x="2563967" y="781962"/>
                    <a:pt x="2575834" y="803117"/>
                  </a:cubicBezTo>
                  <a:cubicBezTo>
                    <a:pt x="2582026" y="814468"/>
                    <a:pt x="2587186" y="826336"/>
                    <a:pt x="2591313" y="838719"/>
                  </a:cubicBezTo>
                  <a:cubicBezTo>
                    <a:pt x="2600085" y="867098"/>
                    <a:pt x="2595441" y="880514"/>
                    <a:pt x="2570158" y="896509"/>
                  </a:cubicBezTo>
                  <a:cubicBezTo>
                    <a:pt x="2534040" y="919212"/>
                    <a:pt x="2498437" y="942947"/>
                    <a:pt x="2461287" y="964102"/>
                  </a:cubicBezTo>
                  <a:cubicBezTo>
                    <a:pt x="2440132" y="976485"/>
                    <a:pt x="2434456" y="992997"/>
                    <a:pt x="2438068" y="1014668"/>
                  </a:cubicBezTo>
                  <a:cubicBezTo>
                    <a:pt x="2441164" y="1034791"/>
                    <a:pt x="2446840" y="1054398"/>
                    <a:pt x="2454063" y="1073489"/>
                  </a:cubicBezTo>
                  <a:cubicBezTo>
                    <a:pt x="2460771" y="1091032"/>
                    <a:pt x="2472638" y="1100320"/>
                    <a:pt x="2492762" y="1100836"/>
                  </a:cubicBezTo>
                  <a:cubicBezTo>
                    <a:pt x="2538168" y="1101352"/>
                    <a:pt x="2583058" y="1104448"/>
                    <a:pt x="2628464" y="1105996"/>
                  </a:cubicBezTo>
                  <a:cubicBezTo>
                    <a:pt x="2653230" y="1107028"/>
                    <a:pt x="2665614" y="1116831"/>
                    <a:pt x="2672322" y="1140566"/>
                  </a:cubicBezTo>
                  <a:cubicBezTo>
                    <a:pt x="2676449" y="1153982"/>
                    <a:pt x="2677998" y="1167913"/>
                    <a:pt x="2677998" y="1182360"/>
                  </a:cubicBezTo>
                  <a:cubicBezTo>
                    <a:pt x="2677998" y="1210223"/>
                    <a:pt x="2670258" y="1221575"/>
                    <a:pt x="2644459" y="1229830"/>
                  </a:cubicBezTo>
                  <a:cubicBezTo>
                    <a:pt x="2603697" y="1242730"/>
                    <a:pt x="2562934" y="1255113"/>
                    <a:pt x="2522172" y="1267497"/>
                  </a:cubicBezTo>
                  <a:cubicBezTo>
                    <a:pt x="2492762" y="1276268"/>
                    <a:pt x="2485022" y="1285556"/>
                    <a:pt x="2483990" y="1315998"/>
                  </a:cubicBezTo>
                  <a:cubicBezTo>
                    <a:pt x="2483474" y="1337153"/>
                    <a:pt x="2481926" y="1358824"/>
                    <a:pt x="2486570" y="1379980"/>
                  </a:cubicBezTo>
                  <a:cubicBezTo>
                    <a:pt x="2489666" y="1394427"/>
                    <a:pt x="2498437" y="1403199"/>
                    <a:pt x="2512885" y="1407842"/>
                  </a:cubicBezTo>
                  <a:cubicBezTo>
                    <a:pt x="2555711" y="1420742"/>
                    <a:pt x="2598537" y="1433641"/>
                    <a:pt x="2641363" y="1447057"/>
                  </a:cubicBezTo>
                  <a:cubicBezTo>
                    <a:pt x="2671290" y="1456344"/>
                    <a:pt x="2678514" y="1466664"/>
                    <a:pt x="2677998" y="1498138"/>
                  </a:cubicBezTo>
                  <a:cubicBezTo>
                    <a:pt x="2677998" y="1501234"/>
                    <a:pt x="2677998" y="1504330"/>
                    <a:pt x="2677998" y="1507426"/>
                  </a:cubicBezTo>
                  <a:cubicBezTo>
                    <a:pt x="2675934" y="1555928"/>
                    <a:pt x="2660454" y="1571407"/>
                    <a:pt x="2611952" y="1572955"/>
                  </a:cubicBezTo>
                  <a:cubicBezTo>
                    <a:pt x="2571190" y="1573987"/>
                    <a:pt x="2530944" y="1576051"/>
                    <a:pt x="2490182" y="1576567"/>
                  </a:cubicBezTo>
                  <a:cubicBezTo>
                    <a:pt x="2474702" y="1577083"/>
                    <a:pt x="2463867" y="1583791"/>
                    <a:pt x="2457675" y="1596690"/>
                  </a:cubicBezTo>
                  <a:cubicBezTo>
                    <a:pt x="2446324" y="1620941"/>
                    <a:pt x="2439100" y="1646224"/>
                    <a:pt x="2437036" y="1673055"/>
                  </a:cubicBezTo>
                  <a:cubicBezTo>
                    <a:pt x="2435488" y="1690082"/>
                    <a:pt x="2442712" y="1701434"/>
                    <a:pt x="2457159" y="1710205"/>
                  </a:cubicBezTo>
                  <a:cubicBezTo>
                    <a:pt x="2493278" y="1732392"/>
                    <a:pt x="2528880" y="1754579"/>
                    <a:pt x="2564483" y="1777282"/>
                  </a:cubicBezTo>
                  <a:cubicBezTo>
                    <a:pt x="2596989" y="1797405"/>
                    <a:pt x="2601117" y="1809789"/>
                    <a:pt x="2588733" y="1845907"/>
                  </a:cubicBezTo>
                  <a:cubicBezTo>
                    <a:pt x="2584606" y="1858291"/>
                    <a:pt x="2578930" y="1870158"/>
                    <a:pt x="2571706" y="1880994"/>
                  </a:cubicBezTo>
                  <a:cubicBezTo>
                    <a:pt x="2564998" y="1890797"/>
                    <a:pt x="2554163" y="1897505"/>
                    <a:pt x="2538684" y="1897505"/>
                  </a:cubicBezTo>
                  <a:close/>
                  <a:moveTo>
                    <a:pt x="1338521" y="2312867"/>
                  </a:moveTo>
                  <a:cubicBezTo>
                    <a:pt x="1869461" y="2314931"/>
                    <a:pt x="2317329" y="1887701"/>
                    <a:pt x="2316814" y="1335605"/>
                  </a:cubicBezTo>
                  <a:cubicBezTo>
                    <a:pt x="2316298" y="792797"/>
                    <a:pt x="1880813" y="359892"/>
                    <a:pt x="1340068" y="359376"/>
                  </a:cubicBezTo>
                  <a:cubicBezTo>
                    <a:pt x="796228" y="358860"/>
                    <a:pt x="363839" y="794861"/>
                    <a:pt x="361775" y="1331994"/>
                  </a:cubicBezTo>
                  <a:cubicBezTo>
                    <a:pt x="359711" y="1882026"/>
                    <a:pt x="806032" y="2314415"/>
                    <a:pt x="1338521" y="2312867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/>
            <p:cNvSpPr/>
            <p:nvPr/>
          </p:nvSpPr>
          <p:spPr>
            <a:xfrm>
              <a:off x="7628244" y="2084297"/>
              <a:ext cx="1757326" cy="1752551"/>
            </a:xfrm>
            <a:custGeom>
              <a:avLst/>
              <a:gdLst>
                <a:gd name="connsiteX0" fmla="*/ 30 w 1898796"/>
                <a:gd name="connsiteY0" fmla="*/ 947852 h 1893636"/>
                <a:gd name="connsiteX1" fmla="*/ 950461 w 1898796"/>
                <a:gd name="connsiteY1" fmla="*/ 2 h 1893636"/>
                <a:gd name="connsiteX2" fmla="*/ 1898827 w 1898796"/>
                <a:gd name="connsiteY2" fmla="*/ 950948 h 1893636"/>
                <a:gd name="connsiteX3" fmla="*/ 946849 w 1898796"/>
                <a:gd name="connsiteY3" fmla="*/ 1898283 h 1893636"/>
                <a:gd name="connsiteX4" fmla="*/ 30 w 1898796"/>
                <a:gd name="connsiteY4" fmla="*/ 947852 h 1893636"/>
                <a:gd name="connsiteX5" fmla="*/ 1187811 w 1898796"/>
                <a:gd name="connsiteY5" fmla="*/ 949916 h 1893636"/>
                <a:gd name="connsiteX6" fmla="*/ 949429 w 1898796"/>
                <a:gd name="connsiteY6" fmla="*/ 710503 h 1893636"/>
                <a:gd name="connsiteX7" fmla="*/ 710532 w 1898796"/>
                <a:gd name="connsiteY7" fmla="*/ 948368 h 1893636"/>
                <a:gd name="connsiteX8" fmla="*/ 948397 w 1898796"/>
                <a:gd name="connsiteY8" fmla="*/ 1188298 h 1893636"/>
                <a:gd name="connsiteX9" fmla="*/ 1187811 w 1898796"/>
                <a:gd name="connsiteY9" fmla="*/ 949916 h 189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8796" h="1893636">
                  <a:moveTo>
                    <a:pt x="30" y="947852"/>
                  </a:moveTo>
                  <a:cubicBezTo>
                    <a:pt x="-3065" y="428263"/>
                    <a:pt x="426228" y="-1030"/>
                    <a:pt x="950461" y="2"/>
                  </a:cubicBezTo>
                  <a:cubicBezTo>
                    <a:pt x="1472114" y="1034"/>
                    <a:pt x="1899859" y="427747"/>
                    <a:pt x="1898827" y="950948"/>
                  </a:cubicBezTo>
                  <a:cubicBezTo>
                    <a:pt x="1897795" y="1468473"/>
                    <a:pt x="1477790" y="1899315"/>
                    <a:pt x="946849" y="1898283"/>
                  </a:cubicBezTo>
                  <a:cubicBezTo>
                    <a:pt x="411781" y="1896735"/>
                    <a:pt x="-4097" y="1460218"/>
                    <a:pt x="30" y="947852"/>
                  </a:cubicBezTo>
                  <a:close/>
                  <a:moveTo>
                    <a:pt x="1187811" y="949916"/>
                  </a:moveTo>
                  <a:cubicBezTo>
                    <a:pt x="1188327" y="817310"/>
                    <a:pt x="1084099" y="710503"/>
                    <a:pt x="949429" y="710503"/>
                  </a:cubicBezTo>
                  <a:cubicBezTo>
                    <a:pt x="805987" y="710503"/>
                    <a:pt x="710015" y="828146"/>
                    <a:pt x="710532" y="948368"/>
                  </a:cubicBezTo>
                  <a:cubicBezTo>
                    <a:pt x="711048" y="1081490"/>
                    <a:pt x="815791" y="1188298"/>
                    <a:pt x="948397" y="1188298"/>
                  </a:cubicBezTo>
                  <a:cubicBezTo>
                    <a:pt x="1081003" y="1188298"/>
                    <a:pt x="1187294" y="1083038"/>
                    <a:pt x="1187811" y="949916"/>
                  </a:cubicBezTo>
                  <a:close/>
                </a:path>
              </a:pathLst>
            </a:custGeom>
            <a:grpFill/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6" name="Group 25"/>
          <p:cNvGrpSpPr/>
          <p:nvPr userDrawn="1"/>
        </p:nvGrpSpPr>
        <p:grpSpPr>
          <a:xfrm rot="6679697" flipV="1">
            <a:off x="2514190" y="4250744"/>
            <a:ext cx="709209" cy="493240"/>
            <a:chOff x="5405974" y="1533288"/>
            <a:chExt cx="611040" cy="424965"/>
          </a:xfrm>
        </p:grpSpPr>
        <p:sp>
          <p:nvSpPr>
            <p:cNvPr id="27" name="Trapezoid 26"/>
            <p:cNvSpPr/>
            <p:nvPr/>
          </p:nvSpPr>
          <p:spPr>
            <a:xfrm rot="5912136" flipH="1">
              <a:off x="5633173" y="1617814"/>
              <a:ext cx="141626" cy="93186"/>
            </a:xfrm>
            <a:prstGeom prst="trapezoid">
              <a:avLst>
                <a:gd name="adj" fmla="val 12383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Trapezoid 27"/>
            <p:cNvSpPr/>
            <p:nvPr/>
          </p:nvSpPr>
          <p:spPr>
            <a:xfrm rot="5912136" flipH="1">
              <a:off x="5438996" y="1500266"/>
              <a:ext cx="200130" cy="266173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rapezoid 28"/>
            <p:cNvSpPr/>
            <p:nvPr/>
          </p:nvSpPr>
          <p:spPr>
            <a:xfrm rot="7277434" flipH="1">
              <a:off x="5857778" y="1735728"/>
              <a:ext cx="103331" cy="96694"/>
            </a:xfrm>
            <a:prstGeom prst="trapezoid">
              <a:avLst>
                <a:gd name="adj" fmla="val 12383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rapezoid 29"/>
            <p:cNvSpPr/>
            <p:nvPr/>
          </p:nvSpPr>
          <p:spPr>
            <a:xfrm rot="7277434" flipH="1">
              <a:off x="5727739" y="1619233"/>
              <a:ext cx="146016" cy="194202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rapezoid 30"/>
            <p:cNvSpPr/>
            <p:nvPr/>
          </p:nvSpPr>
          <p:spPr>
            <a:xfrm rot="8867088" flipH="1">
              <a:off x="5923517" y="1775373"/>
              <a:ext cx="93497" cy="182880"/>
            </a:xfrm>
            <a:prstGeom prst="trapezoid">
              <a:avLst>
                <a:gd name="adj" fmla="val 12383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" name="Group 3"/>
          <p:cNvGrpSpPr/>
          <p:nvPr userDrawn="1"/>
        </p:nvGrpSpPr>
        <p:grpSpPr>
          <a:xfrm rot="2246763">
            <a:off x="1974127" y="1362251"/>
            <a:ext cx="2028524" cy="1778017"/>
            <a:chOff x="2753518" y="2997140"/>
            <a:chExt cx="2028524" cy="1778017"/>
          </a:xfrm>
          <a:solidFill>
            <a:schemeClr val="bg1">
              <a:alpha val="5000"/>
            </a:schemeClr>
          </a:solidFill>
        </p:grpSpPr>
        <p:sp>
          <p:nvSpPr>
            <p:cNvPr id="5" name="Freeform: Shape 4"/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8" name="Freeform: Shape 7"/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: Shape 8"/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" name="Freeform: Shape 6"/>
            <p:cNvSpPr/>
            <p:nvPr/>
          </p:nvSpPr>
          <p:spPr>
            <a:xfrm>
              <a:off x="3308806" y="2997140"/>
              <a:ext cx="683882" cy="686216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0" y="2766599"/>
            <a:ext cx="2745260" cy="2471860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11" name="Freeform: Shape 10"/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13" name="Freeform: Shape 12"/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/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Freeform: Shape 14"/>
          <p:cNvSpPr/>
          <p:nvPr userDrawn="1"/>
        </p:nvSpPr>
        <p:spPr>
          <a:xfrm>
            <a:off x="3140906" y="3608100"/>
            <a:ext cx="623915" cy="635123"/>
          </a:xfrm>
          <a:custGeom>
            <a:avLst/>
            <a:gdLst>
              <a:gd name="connsiteX0" fmla="*/ 879664 w 1723364"/>
              <a:gd name="connsiteY0" fmla="*/ 267 h 1754322"/>
              <a:gd name="connsiteX1" fmla="*/ 964801 w 1723364"/>
              <a:gd name="connsiteY1" fmla="*/ 5943 h 1754322"/>
              <a:gd name="connsiteX2" fmla="*/ 979248 w 1723364"/>
              <a:gd name="connsiteY2" fmla="*/ 18843 h 1754322"/>
              <a:gd name="connsiteX3" fmla="*/ 977700 w 1723364"/>
              <a:gd name="connsiteY3" fmla="*/ 158673 h 1754322"/>
              <a:gd name="connsiteX4" fmla="*/ 968928 w 1723364"/>
              <a:gd name="connsiteY4" fmla="*/ 213366 h 1754322"/>
              <a:gd name="connsiteX5" fmla="*/ 979764 w 1723364"/>
              <a:gd name="connsiteY5" fmla="*/ 229877 h 1754322"/>
              <a:gd name="connsiteX6" fmla="*/ 1149520 w 1723364"/>
              <a:gd name="connsiteY6" fmla="*/ 285087 h 1754322"/>
              <a:gd name="connsiteX7" fmla="*/ 1166548 w 1723364"/>
              <a:gd name="connsiteY7" fmla="*/ 278379 h 1754322"/>
              <a:gd name="connsiteX8" fmla="*/ 1210406 w 1723364"/>
              <a:gd name="connsiteY8" fmla="*/ 190663 h 1754322"/>
              <a:gd name="connsiteX9" fmla="*/ 1263035 w 1723364"/>
              <a:gd name="connsiteY9" fmla="*/ 123070 h 1754322"/>
              <a:gd name="connsiteX10" fmla="*/ 1304314 w 1723364"/>
              <a:gd name="connsiteY10" fmla="*/ 119458 h 1754322"/>
              <a:gd name="connsiteX11" fmla="*/ 1458075 w 1723364"/>
              <a:gd name="connsiteY11" fmla="*/ 231941 h 1754322"/>
              <a:gd name="connsiteX12" fmla="*/ 1462203 w 1723364"/>
              <a:gd name="connsiteY12" fmla="*/ 251549 h 1754322"/>
              <a:gd name="connsiteX13" fmla="*/ 1461171 w 1723364"/>
              <a:gd name="connsiteY13" fmla="*/ 254128 h 1754322"/>
              <a:gd name="connsiteX14" fmla="*/ 1396158 w 1723364"/>
              <a:gd name="connsiteY14" fmla="*/ 347004 h 1754322"/>
              <a:gd name="connsiteX15" fmla="*/ 1337336 w 1723364"/>
              <a:gd name="connsiteY15" fmla="*/ 404794 h 1754322"/>
              <a:gd name="connsiteX16" fmla="*/ 1336304 w 1723364"/>
              <a:gd name="connsiteY16" fmla="*/ 419757 h 1754322"/>
              <a:gd name="connsiteX17" fmla="*/ 1369327 w 1723364"/>
              <a:gd name="connsiteY17" fmla="*/ 457939 h 1754322"/>
              <a:gd name="connsiteX18" fmla="*/ 1442596 w 1723364"/>
              <a:gd name="connsiteY18" fmla="*/ 565263 h 1754322"/>
              <a:gd name="connsiteX19" fmla="*/ 1462719 w 1723364"/>
              <a:gd name="connsiteY19" fmla="*/ 570938 h 1754322"/>
              <a:gd name="connsiteX20" fmla="*/ 1573138 w 1723364"/>
              <a:gd name="connsiteY20" fmla="*/ 514697 h 1754322"/>
              <a:gd name="connsiteX21" fmla="*/ 1650018 w 1723364"/>
              <a:gd name="connsiteY21" fmla="*/ 501281 h 1754322"/>
              <a:gd name="connsiteX22" fmla="*/ 1659822 w 1723364"/>
              <a:gd name="connsiteY22" fmla="*/ 509537 h 1754322"/>
              <a:gd name="connsiteX23" fmla="*/ 1724835 w 1723364"/>
              <a:gd name="connsiteY23" fmla="*/ 709220 h 1754322"/>
              <a:gd name="connsiteX24" fmla="*/ 1717611 w 1723364"/>
              <a:gd name="connsiteY24" fmla="*/ 723668 h 1754322"/>
              <a:gd name="connsiteX25" fmla="*/ 1671173 w 1723364"/>
              <a:gd name="connsiteY25" fmla="*/ 748950 h 1754322"/>
              <a:gd name="connsiteX26" fmla="*/ 1618544 w 1723364"/>
              <a:gd name="connsiteY26" fmla="*/ 760302 h 1754322"/>
              <a:gd name="connsiteX27" fmla="*/ 1529280 w 1723364"/>
              <a:gd name="connsiteY27" fmla="*/ 774234 h 1754322"/>
              <a:gd name="connsiteX28" fmla="*/ 1515349 w 1723364"/>
              <a:gd name="connsiteY28" fmla="*/ 791777 h 1754322"/>
              <a:gd name="connsiteX29" fmla="*/ 1521024 w 1723364"/>
              <a:gd name="connsiteY29" fmla="*/ 857306 h 1754322"/>
              <a:gd name="connsiteX30" fmla="*/ 1516380 w 1723364"/>
              <a:gd name="connsiteY30" fmla="*/ 953794 h 1754322"/>
              <a:gd name="connsiteX31" fmla="*/ 1538567 w 1723364"/>
              <a:gd name="connsiteY31" fmla="*/ 983720 h 1754322"/>
              <a:gd name="connsiteX32" fmla="*/ 1653114 w 1723364"/>
              <a:gd name="connsiteY32" fmla="*/ 1001779 h 1754322"/>
              <a:gd name="connsiteX33" fmla="*/ 1700584 w 1723364"/>
              <a:gd name="connsiteY33" fmla="*/ 1024483 h 1754322"/>
              <a:gd name="connsiteX34" fmla="*/ 1719675 w 1723364"/>
              <a:gd name="connsiteY34" fmla="*/ 1067825 h 1754322"/>
              <a:gd name="connsiteX35" fmla="*/ 1661370 w 1723364"/>
              <a:gd name="connsiteY35" fmla="*/ 1243773 h 1754322"/>
              <a:gd name="connsiteX36" fmla="*/ 1641763 w 1723364"/>
              <a:gd name="connsiteY36" fmla="*/ 1255124 h 1754322"/>
              <a:gd name="connsiteX37" fmla="*/ 1541663 w 1723364"/>
              <a:gd name="connsiteY37" fmla="*/ 1226230 h 1754322"/>
              <a:gd name="connsiteX38" fmla="*/ 1461687 w 1723364"/>
              <a:gd name="connsiteY38" fmla="*/ 1184436 h 1754322"/>
              <a:gd name="connsiteX39" fmla="*/ 1444143 w 1723364"/>
              <a:gd name="connsiteY39" fmla="*/ 1189079 h 1754322"/>
              <a:gd name="connsiteX40" fmla="*/ 1339400 w 1723364"/>
              <a:gd name="connsiteY40" fmla="*/ 1333553 h 1754322"/>
              <a:gd name="connsiteX41" fmla="*/ 1339916 w 1723364"/>
              <a:gd name="connsiteY41" fmla="*/ 1353160 h 1754322"/>
              <a:gd name="connsiteX42" fmla="*/ 1430212 w 1723364"/>
              <a:gd name="connsiteY42" fmla="*/ 1443456 h 1754322"/>
              <a:gd name="connsiteX43" fmla="*/ 1465814 w 1723364"/>
              <a:gd name="connsiteY43" fmla="*/ 1511565 h 1754322"/>
              <a:gd name="connsiteX44" fmla="*/ 1461171 w 1723364"/>
              <a:gd name="connsiteY44" fmla="*/ 1521369 h 1754322"/>
              <a:gd name="connsiteX45" fmla="*/ 1290382 w 1723364"/>
              <a:gd name="connsiteY45" fmla="*/ 1645203 h 1754322"/>
              <a:gd name="connsiteX46" fmla="*/ 1275419 w 1723364"/>
              <a:gd name="connsiteY46" fmla="*/ 1643655 h 1754322"/>
              <a:gd name="connsiteX47" fmla="*/ 1207310 w 1723364"/>
              <a:gd name="connsiteY47" fmla="*/ 1558003 h 1754322"/>
              <a:gd name="connsiteX48" fmla="*/ 1167064 w 1723364"/>
              <a:gd name="connsiteY48" fmla="*/ 1477511 h 1754322"/>
              <a:gd name="connsiteX49" fmla="*/ 1150036 w 1723364"/>
              <a:gd name="connsiteY49" fmla="*/ 1470803 h 1754322"/>
              <a:gd name="connsiteX50" fmla="*/ 981312 w 1723364"/>
              <a:gd name="connsiteY50" fmla="*/ 1526013 h 1754322"/>
              <a:gd name="connsiteX51" fmla="*/ 969960 w 1723364"/>
              <a:gd name="connsiteY51" fmla="*/ 1544072 h 1754322"/>
              <a:gd name="connsiteX52" fmla="*/ 989052 w 1723364"/>
              <a:gd name="connsiteY52" fmla="*/ 1663779 h 1754322"/>
              <a:gd name="connsiteX53" fmla="*/ 978216 w 1723364"/>
              <a:gd name="connsiteY53" fmla="*/ 1743755 h 1754322"/>
              <a:gd name="connsiteX54" fmla="*/ 966864 w 1723364"/>
              <a:gd name="connsiteY54" fmla="*/ 1749947 h 1754322"/>
              <a:gd name="connsiteX55" fmla="*/ 758410 w 1723364"/>
              <a:gd name="connsiteY55" fmla="*/ 1749947 h 1754322"/>
              <a:gd name="connsiteX56" fmla="*/ 745510 w 1723364"/>
              <a:gd name="connsiteY56" fmla="*/ 1737047 h 1754322"/>
              <a:gd name="connsiteX57" fmla="*/ 747058 w 1723364"/>
              <a:gd name="connsiteY57" fmla="*/ 1598249 h 1754322"/>
              <a:gd name="connsiteX58" fmla="*/ 756346 w 1723364"/>
              <a:gd name="connsiteY58" fmla="*/ 1543556 h 1754322"/>
              <a:gd name="connsiteX59" fmla="*/ 744478 w 1723364"/>
              <a:gd name="connsiteY59" fmla="*/ 1525496 h 1754322"/>
              <a:gd name="connsiteX60" fmla="*/ 575754 w 1723364"/>
              <a:gd name="connsiteY60" fmla="*/ 1470287 h 1754322"/>
              <a:gd name="connsiteX61" fmla="*/ 559758 w 1723364"/>
              <a:gd name="connsiteY61" fmla="*/ 1475963 h 1754322"/>
              <a:gd name="connsiteX62" fmla="*/ 504549 w 1723364"/>
              <a:gd name="connsiteY62" fmla="*/ 1585350 h 1754322"/>
              <a:gd name="connsiteX63" fmla="*/ 447275 w 1723364"/>
              <a:gd name="connsiteY63" fmla="*/ 1645719 h 1754322"/>
              <a:gd name="connsiteX64" fmla="*/ 434376 w 1723364"/>
              <a:gd name="connsiteY64" fmla="*/ 1643655 h 1754322"/>
              <a:gd name="connsiteX65" fmla="*/ 290418 w 1723364"/>
              <a:gd name="connsiteY65" fmla="*/ 1542008 h 1754322"/>
              <a:gd name="connsiteX66" fmla="*/ 265651 w 1723364"/>
              <a:gd name="connsiteY66" fmla="*/ 1521369 h 1754322"/>
              <a:gd name="connsiteX67" fmla="*/ 262039 w 1723364"/>
              <a:gd name="connsiteY67" fmla="*/ 1505889 h 1754322"/>
              <a:gd name="connsiteX68" fmla="*/ 321893 w 1723364"/>
              <a:gd name="connsiteY68" fmla="*/ 1415593 h 1754322"/>
              <a:gd name="connsiteX69" fmla="*/ 386906 w 1723364"/>
              <a:gd name="connsiteY69" fmla="*/ 1351096 h 1754322"/>
              <a:gd name="connsiteX70" fmla="*/ 387938 w 1723364"/>
              <a:gd name="connsiteY70" fmla="*/ 1334069 h 1754322"/>
              <a:gd name="connsiteX71" fmla="*/ 354915 w 1723364"/>
              <a:gd name="connsiteY71" fmla="*/ 1295887 h 1754322"/>
              <a:gd name="connsiteX72" fmla="*/ 282678 w 1723364"/>
              <a:gd name="connsiteY72" fmla="*/ 1189595 h 1754322"/>
              <a:gd name="connsiteX73" fmla="*/ 262555 w 1723364"/>
              <a:gd name="connsiteY73" fmla="*/ 1183920 h 1754322"/>
              <a:gd name="connsiteX74" fmla="*/ 152136 w 1723364"/>
              <a:gd name="connsiteY74" fmla="*/ 1240161 h 1754322"/>
              <a:gd name="connsiteX75" fmla="*/ 75256 w 1723364"/>
              <a:gd name="connsiteY75" fmla="*/ 1253577 h 1754322"/>
              <a:gd name="connsiteX76" fmla="*/ 65452 w 1723364"/>
              <a:gd name="connsiteY76" fmla="*/ 1245321 h 1754322"/>
              <a:gd name="connsiteX77" fmla="*/ 439 w 1723364"/>
              <a:gd name="connsiteY77" fmla="*/ 1045637 h 1754322"/>
              <a:gd name="connsiteX78" fmla="*/ 7663 w 1723364"/>
              <a:gd name="connsiteY78" fmla="*/ 1031190 h 1754322"/>
              <a:gd name="connsiteX79" fmla="*/ 54101 w 1723364"/>
              <a:gd name="connsiteY79" fmla="*/ 1005907 h 1754322"/>
              <a:gd name="connsiteX80" fmla="*/ 106730 w 1723364"/>
              <a:gd name="connsiteY80" fmla="*/ 994556 h 1754322"/>
              <a:gd name="connsiteX81" fmla="*/ 197026 w 1723364"/>
              <a:gd name="connsiteY81" fmla="*/ 980109 h 1754322"/>
              <a:gd name="connsiteX82" fmla="*/ 209410 w 1723364"/>
              <a:gd name="connsiteY82" fmla="*/ 964113 h 1754322"/>
              <a:gd name="connsiteX83" fmla="*/ 203734 w 1723364"/>
              <a:gd name="connsiteY83" fmla="*/ 897552 h 1754322"/>
              <a:gd name="connsiteX84" fmla="*/ 208378 w 1723364"/>
              <a:gd name="connsiteY84" fmla="*/ 801064 h 1754322"/>
              <a:gd name="connsiteX85" fmla="*/ 185159 w 1723364"/>
              <a:gd name="connsiteY85" fmla="*/ 770622 h 1754322"/>
              <a:gd name="connsiteX86" fmla="*/ 73192 w 1723364"/>
              <a:gd name="connsiteY86" fmla="*/ 753079 h 1754322"/>
              <a:gd name="connsiteX87" fmla="*/ 24690 w 1723364"/>
              <a:gd name="connsiteY87" fmla="*/ 730375 h 1754322"/>
              <a:gd name="connsiteX88" fmla="*/ 5599 w 1723364"/>
              <a:gd name="connsiteY88" fmla="*/ 687033 h 1754322"/>
              <a:gd name="connsiteX89" fmla="*/ 63904 w 1723364"/>
              <a:gd name="connsiteY89" fmla="*/ 511085 h 1754322"/>
              <a:gd name="connsiteX90" fmla="*/ 83511 w 1723364"/>
              <a:gd name="connsiteY90" fmla="*/ 499733 h 1754322"/>
              <a:gd name="connsiteX91" fmla="*/ 183611 w 1723364"/>
              <a:gd name="connsiteY91" fmla="*/ 528628 h 1754322"/>
              <a:gd name="connsiteX92" fmla="*/ 262555 w 1723364"/>
              <a:gd name="connsiteY92" fmla="*/ 569390 h 1754322"/>
              <a:gd name="connsiteX93" fmla="*/ 282163 w 1723364"/>
              <a:gd name="connsiteY93" fmla="*/ 564231 h 1754322"/>
              <a:gd name="connsiteX94" fmla="*/ 386906 w 1723364"/>
              <a:gd name="connsiteY94" fmla="*/ 419757 h 1754322"/>
              <a:gd name="connsiteX95" fmla="*/ 386390 w 1723364"/>
              <a:gd name="connsiteY95" fmla="*/ 402214 h 1754322"/>
              <a:gd name="connsiteX96" fmla="*/ 296094 w 1723364"/>
              <a:gd name="connsiteY96" fmla="*/ 311918 h 1754322"/>
              <a:gd name="connsiteX97" fmla="*/ 259975 w 1723364"/>
              <a:gd name="connsiteY97" fmla="*/ 242777 h 1754322"/>
              <a:gd name="connsiteX98" fmla="*/ 264619 w 1723364"/>
              <a:gd name="connsiteY98" fmla="*/ 232973 h 1754322"/>
              <a:gd name="connsiteX99" fmla="*/ 435408 w 1723364"/>
              <a:gd name="connsiteY99" fmla="*/ 109139 h 1754322"/>
              <a:gd name="connsiteX100" fmla="*/ 450371 w 1723364"/>
              <a:gd name="connsiteY100" fmla="*/ 110687 h 1754322"/>
              <a:gd name="connsiteX101" fmla="*/ 518480 w 1723364"/>
              <a:gd name="connsiteY101" fmla="*/ 196339 h 1754322"/>
              <a:gd name="connsiteX102" fmla="*/ 559758 w 1723364"/>
              <a:gd name="connsiteY102" fmla="*/ 277863 h 1754322"/>
              <a:gd name="connsiteX103" fmla="*/ 574722 w 1723364"/>
              <a:gd name="connsiteY103" fmla="*/ 283539 h 1754322"/>
              <a:gd name="connsiteX104" fmla="*/ 746026 w 1723364"/>
              <a:gd name="connsiteY104" fmla="*/ 227813 h 1754322"/>
              <a:gd name="connsiteX105" fmla="*/ 756346 w 1723364"/>
              <a:gd name="connsiteY105" fmla="*/ 211302 h 1754322"/>
              <a:gd name="connsiteX106" fmla="*/ 737254 w 1723364"/>
              <a:gd name="connsiteY106" fmla="*/ 91596 h 1754322"/>
              <a:gd name="connsiteX107" fmla="*/ 748090 w 1723364"/>
              <a:gd name="connsiteY107" fmla="*/ 10587 h 1754322"/>
              <a:gd name="connsiteX108" fmla="*/ 758410 w 1723364"/>
              <a:gd name="connsiteY108" fmla="*/ 4395 h 1754322"/>
              <a:gd name="connsiteX109" fmla="*/ 879664 w 1723364"/>
              <a:gd name="connsiteY109" fmla="*/ 267 h 1754322"/>
              <a:gd name="connsiteX110" fmla="*/ 861605 w 1723364"/>
              <a:gd name="connsiteY110" fmla="*/ 1409918 h 1754322"/>
              <a:gd name="connsiteX111" fmla="*/ 1392546 w 1723364"/>
              <a:gd name="connsiteY111" fmla="*/ 879493 h 1754322"/>
              <a:gd name="connsiteX112" fmla="*/ 862637 w 1723364"/>
              <a:gd name="connsiteY112" fmla="*/ 348552 h 1754322"/>
              <a:gd name="connsiteX113" fmla="*/ 331180 w 1723364"/>
              <a:gd name="connsiteY113" fmla="*/ 879493 h 1754322"/>
              <a:gd name="connsiteX114" fmla="*/ 861605 w 1723364"/>
              <a:gd name="connsiteY114" fmla="*/ 1409918 h 1754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723364" h="1754322">
                <a:moveTo>
                  <a:pt x="879664" y="267"/>
                </a:moveTo>
                <a:cubicBezTo>
                  <a:pt x="907527" y="2332"/>
                  <a:pt x="935906" y="4395"/>
                  <a:pt x="964801" y="5943"/>
                </a:cubicBezTo>
                <a:cubicBezTo>
                  <a:pt x="974088" y="6459"/>
                  <a:pt x="976668" y="11103"/>
                  <a:pt x="979248" y="18843"/>
                </a:cubicBezTo>
                <a:cubicBezTo>
                  <a:pt x="994727" y="65797"/>
                  <a:pt x="985956" y="112235"/>
                  <a:pt x="977700" y="158673"/>
                </a:cubicBezTo>
                <a:cubicBezTo>
                  <a:pt x="974604" y="176732"/>
                  <a:pt x="972024" y="195307"/>
                  <a:pt x="968928" y="213366"/>
                </a:cubicBezTo>
                <a:cubicBezTo>
                  <a:pt x="967380" y="222654"/>
                  <a:pt x="969960" y="227813"/>
                  <a:pt x="979764" y="229877"/>
                </a:cubicBezTo>
                <a:cubicBezTo>
                  <a:pt x="1038585" y="240713"/>
                  <a:pt x="1095343" y="259804"/>
                  <a:pt x="1149520" y="285087"/>
                </a:cubicBezTo>
                <a:cubicBezTo>
                  <a:pt x="1158808" y="289215"/>
                  <a:pt x="1162420" y="286119"/>
                  <a:pt x="1166548" y="278379"/>
                </a:cubicBezTo>
                <a:cubicBezTo>
                  <a:pt x="1180995" y="248969"/>
                  <a:pt x="1197506" y="220590"/>
                  <a:pt x="1210406" y="190663"/>
                </a:cubicBezTo>
                <a:cubicBezTo>
                  <a:pt x="1222273" y="163316"/>
                  <a:pt x="1240848" y="142161"/>
                  <a:pt x="1263035" y="123070"/>
                </a:cubicBezTo>
                <a:cubicBezTo>
                  <a:pt x="1282643" y="106043"/>
                  <a:pt x="1282127" y="106559"/>
                  <a:pt x="1304314" y="119458"/>
                </a:cubicBezTo>
                <a:cubicBezTo>
                  <a:pt x="1359523" y="151449"/>
                  <a:pt x="1409573" y="190663"/>
                  <a:pt x="1458075" y="231941"/>
                </a:cubicBezTo>
                <a:cubicBezTo>
                  <a:pt x="1465299" y="238133"/>
                  <a:pt x="1467362" y="243809"/>
                  <a:pt x="1462203" y="251549"/>
                </a:cubicBezTo>
                <a:cubicBezTo>
                  <a:pt x="1461687" y="252064"/>
                  <a:pt x="1461171" y="253096"/>
                  <a:pt x="1461171" y="254128"/>
                </a:cubicBezTo>
                <a:cubicBezTo>
                  <a:pt x="1448271" y="291279"/>
                  <a:pt x="1425052" y="320689"/>
                  <a:pt x="1396158" y="347004"/>
                </a:cubicBezTo>
                <a:cubicBezTo>
                  <a:pt x="1375518" y="365064"/>
                  <a:pt x="1356943" y="385703"/>
                  <a:pt x="1337336" y="404794"/>
                </a:cubicBezTo>
                <a:cubicBezTo>
                  <a:pt x="1332177" y="409954"/>
                  <a:pt x="1330628" y="413565"/>
                  <a:pt x="1336304" y="419757"/>
                </a:cubicBezTo>
                <a:cubicBezTo>
                  <a:pt x="1347656" y="432141"/>
                  <a:pt x="1357459" y="445556"/>
                  <a:pt x="1369327" y="457939"/>
                </a:cubicBezTo>
                <a:cubicBezTo>
                  <a:pt x="1399769" y="489930"/>
                  <a:pt x="1419893" y="528628"/>
                  <a:pt x="1442596" y="565263"/>
                </a:cubicBezTo>
                <a:cubicBezTo>
                  <a:pt x="1448271" y="574550"/>
                  <a:pt x="1452915" y="576098"/>
                  <a:pt x="1462719" y="570938"/>
                </a:cubicBezTo>
                <a:cubicBezTo>
                  <a:pt x="1499353" y="551847"/>
                  <a:pt x="1535988" y="533272"/>
                  <a:pt x="1573138" y="514697"/>
                </a:cubicBezTo>
                <a:cubicBezTo>
                  <a:pt x="1597389" y="502830"/>
                  <a:pt x="1624220" y="504893"/>
                  <a:pt x="1650018" y="501281"/>
                </a:cubicBezTo>
                <a:cubicBezTo>
                  <a:pt x="1655694" y="500250"/>
                  <a:pt x="1658274" y="505409"/>
                  <a:pt x="1659822" y="509537"/>
                </a:cubicBezTo>
                <a:cubicBezTo>
                  <a:pt x="1687685" y="574034"/>
                  <a:pt x="1709872" y="640595"/>
                  <a:pt x="1724835" y="709220"/>
                </a:cubicBezTo>
                <a:cubicBezTo>
                  <a:pt x="1726383" y="716444"/>
                  <a:pt x="1723803" y="720572"/>
                  <a:pt x="1717611" y="723668"/>
                </a:cubicBezTo>
                <a:cubicBezTo>
                  <a:pt x="1702132" y="731923"/>
                  <a:pt x="1686653" y="740695"/>
                  <a:pt x="1671173" y="748950"/>
                </a:cubicBezTo>
                <a:cubicBezTo>
                  <a:pt x="1654662" y="757722"/>
                  <a:pt x="1636087" y="757206"/>
                  <a:pt x="1618544" y="760302"/>
                </a:cubicBezTo>
                <a:cubicBezTo>
                  <a:pt x="1589133" y="765462"/>
                  <a:pt x="1559207" y="770106"/>
                  <a:pt x="1529280" y="774234"/>
                </a:cubicBezTo>
                <a:cubicBezTo>
                  <a:pt x="1517412" y="775781"/>
                  <a:pt x="1514316" y="780941"/>
                  <a:pt x="1515349" y="791777"/>
                </a:cubicBezTo>
                <a:cubicBezTo>
                  <a:pt x="1517412" y="813448"/>
                  <a:pt x="1518444" y="835635"/>
                  <a:pt x="1521024" y="857306"/>
                </a:cubicBezTo>
                <a:cubicBezTo>
                  <a:pt x="1524636" y="889813"/>
                  <a:pt x="1518960" y="921803"/>
                  <a:pt x="1516380" y="953794"/>
                </a:cubicBezTo>
                <a:cubicBezTo>
                  <a:pt x="1514316" y="980109"/>
                  <a:pt x="1513284" y="980109"/>
                  <a:pt x="1538567" y="983720"/>
                </a:cubicBezTo>
                <a:cubicBezTo>
                  <a:pt x="1576750" y="989912"/>
                  <a:pt x="1614932" y="995588"/>
                  <a:pt x="1653114" y="1001779"/>
                </a:cubicBezTo>
                <a:cubicBezTo>
                  <a:pt x="1671173" y="1004875"/>
                  <a:pt x="1685105" y="1016227"/>
                  <a:pt x="1700584" y="1024483"/>
                </a:cubicBezTo>
                <a:cubicBezTo>
                  <a:pt x="1726899" y="1038414"/>
                  <a:pt x="1725867" y="1038930"/>
                  <a:pt x="1719675" y="1067825"/>
                </a:cubicBezTo>
                <a:cubicBezTo>
                  <a:pt x="1706260" y="1128710"/>
                  <a:pt x="1685105" y="1186500"/>
                  <a:pt x="1661370" y="1243773"/>
                </a:cubicBezTo>
                <a:cubicBezTo>
                  <a:pt x="1657242" y="1253577"/>
                  <a:pt x="1651566" y="1256157"/>
                  <a:pt x="1641763" y="1255124"/>
                </a:cubicBezTo>
                <a:cubicBezTo>
                  <a:pt x="1606160" y="1252028"/>
                  <a:pt x="1572622" y="1244805"/>
                  <a:pt x="1541663" y="1226230"/>
                </a:cubicBezTo>
                <a:cubicBezTo>
                  <a:pt x="1515864" y="1210750"/>
                  <a:pt x="1488001" y="1198883"/>
                  <a:pt x="1461687" y="1184436"/>
                </a:cubicBezTo>
                <a:cubicBezTo>
                  <a:pt x="1453947" y="1180308"/>
                  <a:pt x="1448787" y="1180308"/>
                  <a:pt x="1444143" y="1189079"/>
                </a:cubicBezTo>
                <a:cubicBezTo>
                  <a:pt x="1415249" y="1241709"/>
                  <a:pt x="1380162" y="1290211"/>
                  <a:pt x="1339400" y="1333553"/>
                </a:cubicBezTo>
                <a:cubicBezTo>
                  <a:pt x="1332177" y="1341293"/>
                  <a:pt x="1332177" y="1345936"/>
                  <a:pt x="1339916" y="1353160"/>
                </a:cubicBezTo>
                <a:cubicBezTo>
                  <a:pt x="1370359" y="1382571"/>
                  <a:pt x="1400801" y="1412498"/>
                  <a:pt x="1430212" y="1443456"/>
                </a:cubicBezTo>
                <a:cubicBezTo>
                  <a:pt x="1448271" y="1462547"/>
                  <a:pt x="1453947" y="1488862"/>
                  <a:pt x="1465814" y="1511565"/>
                </a:cubicBezTo>
                <a:cubicBezTo>
                  <a:pt x="1467879" y="1515693"/>
                  <a:pt x="1464267" y="1518789"/>
                  <a:pt x="1461171" y="1521369"/>
                </a:cubicBezTo>
                <a:cubicBezTo>
                  <a:pt x="1408025" y="1568323"/>
                  <a:pt x="1351784" y="1610117"/>
                  <a:pt x="1290382" y="1645203"/>
                </a:cubicBezTo>
                <a:cubicBezTo>
                  <a:pt x="1284707" y="1648815"/>
                  <a:pt x="1280579" y="1648299"/>
                  <a:pt x="1275419" y="1643655"/>
                </a:cubicBezTo>
                <a:cubicBezTo>
                  <a:pt x="1247040" y="1619404"/>
                  <a:pt x="1221757" y="1593606"/>
                  <a:pt x="1207310" y="1558003"/>
                </a:cubicBezTo>
                <a:cubicBezTo>
                  <a:pt x="1195958" y="1530140"/>
                  <a:pt x="1179963" y="1504341"/>
                  <a:pt x="1167064" y="1477511"/>
                </a:cubicBezTo>
                <a:cubicBezTo>
                  <a:pt x="1162936" y="1469255"/>
                  <a:pt x="1158808" y="1467191"/>
                  <a:pt x="1150036" y="1470803"/>
                </a:cubicBezTo>
                <a:cubicBezTo>
                  <a:pt x="1096375" y="1496086"/>
                  <a:pt x="1040133" y="1514661"/>
                  <a:pt x="981312" y="1526013"/>
                </a:cubicBezTo>
                <a:cubicBezTo>
                  <a:pt x="969960" y="1528076"/>
                  <a:pt x="967896" y="1534268"/>
                  <a:pt x="969960" y="1544072"/>
                </a:cubicBezTo>
                <a:cubicBezTo>
                  <a:pt x="976668" y="1583802"/>
                  <a:pt x="982860" y="1623532"/>
                  <a:pt x="989052" y="1663779"/>
                </a:cubicBezTo>
                <a:cubicBezTo>
                  <a:pt x="993179" y="1691641"/>
                  <a:pt x="982344" y="1716924"/>
                  <a:pt x="978216" y="1743755"/>
                </a:cubicBezTo>
                <a:cubicBezTo>
                  <a:pt x="977184" y="1749431"/>
                  <a:pt x="971508" y="1749431"/>
                  <a:pt x="966864" y="1749947"/>
                </a:cubicBezTo>
                <a:cubicBezTo>
                  <a:pt x="897207" y="1757170"/>
                  <a:pt x="828067" y="1756655"/>
                  <a:pt x="758410" y="1749947"/>
                </a:cubicBezTo>
                <a:cubicBezTo>
                  <a:pt x="749638" y="1748915"/>
                  <a:pt x="748090" y="1744271"/>
                  <a:pt x="745510" y="1737047"/>
                </a:cubicBezTo>
                <a:cubicBezTo>
                  <a:pt x="730031" y="1690609"/>
                  <a:pt x="738286" y="1644687"/>
                  <a:pt x="747058" y="1598249"/>
                </a:cubicBezTo>
                <a:cubicBezTo>
                  <a:pt x="750154" y="1580190"/>
                  <a:pt x="752734" y="1561615"/>
                  <a:pt x="756346" y="1543556"/>
                </a:cubicBezTo>
                <a:cubicBezTo>
                  <a:pt x="758410" y="1533236"/>
                  <a:pt x="755314" y="1527560"/>
                  <a:pt x="744478" y="1525496"/>
                </a:cubicBezTo>
                <a:cubicBezTo>
                  <a:pt x="685657" y="1514661"/>
                  <a:pt x="629931" y="1496086"/>
                  <a:pt x="575754" y="1470287"/>
                </a:cubicBezTo>
                <a:cubicBezTo>
                  <a:pt x="568014" y="1466675"/>
                  <a:pt x="563886" y="1467707"/>
                  <a:pt x="559758" y="1475963"/>
                </a:cubicBezTo>
                <a:cubicBezTo>
                  <a:pt x="541699" y="1512597"/>
                  <a:pt x="522608" y="1548715"/>
                  <a:pt x="504549" y="1585350"/>
                </a:cubicBezTo>
                <a:cubicBezTo>
                  <a:pt x="491649" y="1611149"/>
                  <a:pt x="466882" y="1626112"/>
                  <a:pt x="447275" y="1645719"/>
                </a:cubicBezTo>
                <a:cubicBezTo>
                  <a:pt x="442631" y="1650363"/>
                  <a:pt x="438504" y="1646235"/>
                  <a:pt x="434376" y="1643655"/>
                </a:cubicBezTo>
                <a:cubicBezTo>
                  <a:pt x="384326" y="1612697"/>
                  <a:pt x="334276" y="1581738"/>
                  <a:pt x="290418" y="1542008"/>
                </a:cubicBezTo>
                <a:cubicBezTo>
                  <a:pt x="282678" y="1534784"/>
                  <a:pt x="273907" y="1528076"/>
                  <a:pt x="265651" y="1521369"/>
                </a:cubicBezTo>
                <a:cubicBezTo>
                  <a:pt x="259975" y="1516725"/>
                  <a:pt x="259459" y="1512597"/>
                  <a:pt x="262039" y="1505889"/>
                </a:cubicBezTo>
                <a:cubicBezTo>
                  <a:pt x="276487" y="1472351"/>
                  <a:pt x="292998" y="1440360"/>
                  <a:pt x="321893" y="1415593"/>
                </a:cubicBezTo>
                <a:cubicBezTo>
                  <a:pt x="345112" y="1395986"/>
                  <a:pt x="365235" y="1372767"/>
                  <a:pt x="386906" y="1351096"/>
                </a:cubicBezTo>
                <a:cubicBezTo>
                  <a:pt x="393098" y="1345421"/>
                  <a:pt x="394129" y="1341293"/>
                  <a:pt x="387938" y="1334069"/>
                </a:cubicBezTo>
                <a:cubicBezTo>
                  <a:pt x="376586" y="1321685"/>
                  <a:pt x="366783" y="1308270"/>
                  <a:pt x="354915" y="1295887"/>
                </a:cubicBezTo>
                <a:cubicBezTo>
                  <a:pt x="324989" y="1264412"/>
                  <a:pt x="305382" y="1225714"/>
                  <a:pt x="282678" y="1189595"/>
                </a:cubicBezTo>
                <a:cubicBezTo>
                  <a:pt x="277003" y="1180308"/>
                  <a:pt x="272359" y="1178760"/>
                  <a:pt x="262555" y="1183920"/>
                </a:cubicBezTo>
                <a:cubicBezTo>
                  <a:pt x="225921" y="1203011"/>
                  <a:pt x="189287" y="1221586"/>
                  <a:pt x="152136" y="1240161"/>
                </a:cubicBezTo>
                <a:cubicBezTo>
                  <a:pt x="127885" y="1252545"/>
                  <a:pt x="101054" y="1249965"/>
                  <a:pt x="75256" y="1253577"/>
                </a:cubicBezTo>
                <a:cubicBezTo>
                  <a:pt x="69580" y="1254608"/>
                  <a:pt x="67000" y="1249965"/>
                  <a:pt x="65452" y="1245321"/>
                </a:cubicBezTo>
                <a:cubicBezTo>
                  <a:pt x="37589" y="1180824"/>
                  <a:pt x="15402" y="1114263"/>
                  <a:pt x="439" y="1045637"/>
                </a:cubicBezTo>
                <a:cubicBezTo>
                  <a:pt x="-1109" y="1038414"/>
                  <a:pt x="1471" y="1034286"/>
                  <a:pt x="7663" y="1031190"/>
                </a:cubicBezTo>
                <a:cubicBezTo>
                  <a:pt x="23142" y="1022935"/>
                  <a:pt x="38621" y="1014163"/>
                  <a:pt x="54101" y="1005907"/>
                </a:cubicBezTo>
                <a:cubicBezTo>
                  <a:pt x="70612" y="997136"/>
                  <a:pt x="89187" y="997652"/>
                  <a:pt x="106730" y="994556"/>
                </a:cubicBezTo>
                <a:cubicBezTo>
                  <a:pt x="136657" y="989396"/>
                  <a:pt x="167099" y="984236"/>
                  <a:pt x="197026" y="980109"/>
                </a:cubicBezTo>
                <a:cubicBezTo>
                  <a:pt x="207346" y="978560"/>
                  <a:pt x="210442" y="973917"/>
                  <a:pt x="209410" y="964113"/>
                </a:cubicBezTo>
                <a:cubicBezTo>
                  <a:pt x="207346" y="941926"/>
                  <a:pt x="206314" y="919739"/>
                  <a:pt x="203734" y="897552"/>
                </a:cubicBezTo>
                <a:cubicBezTo>
                  <a:pt x="200122" y="865045"/>
                  <a:pt x="205798" y="833055"/>
                  <a:pt x="208378" y="801064"/>
                </a:cubicBezTo>
                <a:cubicBezTo>
                  <a:pt x="210442" y="774749"/>
                  <a:pt x="211474" y="774749"/>
                  <a:pt x="185159" y="770622"/>
                </a:cubicBezTo>
                <a:cubicBezTo>
                  <a:pt x="148009" y="764430"/>
                  <a:pt x="110342" y="758754"/>
                  <a:pt x="73192" y="753079"/>
                </a:cubicBezTo>
                <a:cubicBezTo>
                  <a:pt x="54616" y="750499"/>
                  <a:pt x="40169" y="738631"/>
                  <a:pt x="24690" y="730375"/>
                </a:cubicBezTo>
                <a:cubicBezTo>
                  <a:pt x="-1625" y="715928"/>
                  <a:pt x="-593" y="715928"/>
                  <a:pt x="5599" y="687033"/>
                </a:cubicBezTo>
                <a:cubicBezTo>
                  <a:pt x="19014" y="626148"/>
                  <a:pt x="40169" y="568358"/>
                  <a:pt x="63904" y="511085"/>
                </a:cubicBezTo>
                <a:cubicBezTo>
                  <a:pt x="68032" y="501281"/>
                  <a:pt x="73192" y="498701"/>
                  <a:pt x="83511" y="499733"/>
                </a:cubicBezTo>
                <a:cubicBezTo>
                  <a:pt x="119114" y="502830"/>
                  <a:pt x="152652" y="510053"/>
                  <a:pt x="183611" y="528628"/>
                </a:cubicBezTo>
                <a:cubicBezTo>
                  <a:pt x="208894" y="543592"/>
                  <a:pt x="236241" y="555459"/>
                  <a:pt x="262555" y="569390"/>
                </a:cubicBezTo>
                <a:cubicBezTo>
                  <a:pt x="271327" y="574034"/>
                  <a:pt x="277003" y="574034"/>
                  <a:pt x="282163" y="564231"/>
                </a:cubicBezTo>
                <a:cubicBezTo>
                  <a:pt x="311057" y="511601"/>
                  <a:pt x="346144" y="463615"/>
                  <a:pt x="386906" y="419757"/>
                </a:cubicBezTo>
                <a:cubicBezTo>
                  <a:pt x="393614" y="412534"/>
                  <a:pt x="393098" y="408922"/>
                  <a:pt x="386390" y="402214"/>
                </a:cubicBezTo>
                <a:cubicBezTo>
                  <a:pt x="355947" y="372287"/>
                  <a:pt x="325505" y="342360"/>
                  <a:pt x="296094" y="311918"/>
                </a:cubicBezTo>
                <a:cubicBezTo>
                  <a:pt x="277519" y="292827"/>
                  <a:pt x="271843" y="265996"/>
                  <a:pt x="259975" y="242777"/>
                </a:cubicBezTo>
                <a:cubicBezTo>
                  <a:pt x="257912" y="238649"/>
                  <a:pt x="261524" y="235553"/>
                  <a:pt x="264619" y="232973"/>
                </a:cubicBezTo>
                <a:cubicBezTo>
                  <a:pt x="317765" y="186019"/>
                  <a:pt x="374007" y="144225"/>
                  <a:pt x="435408" y="109139"/>
                </a:cubicBezTo>
                <a:cubicBezTo>
                  <a:pt x="441084" y="105527"/>
                  <a:pt x="445211" y="106043"/>
                  <a:pt x="450371" y="110687"/>
                </a:cubicBezTo>
                <a:cubicBezTo>
                  <a:pt x="478750" y="134937"/>
                  <a:pt x="504033" y="160736"/>
                  <a:pt x="518480" y="196339"/>
                </a:cubicBezTo>
                <a:cubicBezTo>
                  <a:pt x="530348" y="224202"/>
                  <a:pt x="545827" y="250516"/>
                  <a:pt x="559758" y="277863"/>
                </a:cubicBezTo>
                <a:cubicBezTo>
                  <a:pt x="563370" y="285087"/>
                  <a:pt x="566982" y="287151"/>
                  <a:pt x="574722" y="283539"/>
                </a:cubicBezTo>
                <a:cubicBezTo>
                  <a:pt x="629415" y="257740"/>
                  <a:pt x="686173" y="238649"/>
                  <a:pt x="746026" y="227813"/>
                </a:cubicBezTo>
                <a:cubicBezTo>
                  <a:pt x="756346" y="225750"/>
                  <a:pt x="757893" y="220074"/>
                  <a:pt x="756346" y="211302"/>
                </a:cubicBezTo>
                <a:cubicBezTo>
                  <a:pt x="749638" y="171572"/>
                  <a:pt x="743446" y="131326"/>
                  <a:pt x="737254" y="91596"/>
                </a:cubicBezTo>
                <a:cubicBezTo>
                  <a:pt x="732611" y="63217"/>
                  <a:pt x="743446" y="37418"/>
                  <a:pt x="748090" y="10587"/>
                </a:cubicBezTo>
                <a:cubicBezTo>
                  <a:pt x="749122" y="5427"/>
                  <a:pt x="753766" y="4395"/>
                  <a:pt x="758410" y="4395"/>
                </a:cubicBezTo>
                <a:cubicBezTo>
                  <a:pt x="797624" y="4395"/>
                  <a:pt x="837870" y="-1280"/>
                  <a:pt x="879664" y="267"/>
                </a:cubicBezTo>
                <a:close/>
                <a:moveTo>
                  <a:pt x="861605" y="1409918"/>
                </a:moveTo>
                <a:cubicBezTo>
                  <a:pt x="1155712" y="1407338"/>
                  <a:pt x="1392030" y="1176180"/>
                  <a:pt x="1392546" y="879493"/>
                </a:cubicBezTo>
                <a:cubicBezTo>
                  <a:pt x="1393062" y="585902"/>
                  <a:pt x="1160356" y="349068"/>
                  <a:pt x="862637" y="348552"/>
                </a:cubicBezTo>
                <a:cubicBezTo>
                  <a:pt x="568014" y="348036"/>
                  <a:pt x="331180" y="581774"/>
                  <a:pt x="331180" y="879493"/>
                </a:cubicBezTo>
                <a:cubicBezTo>
                  <a:pt x="331180" y="1173600"/>
                  <a:pt x="565950" y="1406822"/>
                  <a:pt x="861605" y="140991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: Shape 15"/>
          <p:cNvSpPr/>
          <p:nvPr userDrawn="1"/>
        </p:nvSpPr>
        <p:spPr>
          <a:xfrm rot="2246763">
            <a:off x="103562" y="2021654"/>
            <a:ext cx="1218879" cy="1218879"/>
          </a:xfrm>
          <a:custGeom>
            <a:avLst/>
            <a:gdLst>
              <a:gd name="connsiteX0" fmla="*/ 894776 w 1774962"/>
              <a:gd name="connsiteY0" fmla="*/ 1775736 h 1774962"/>
              <a:gd name="connsiteX1" fmla="*/ 852466 w 1774962"/>
              <a:gd name="connsiteY1" fmla="*/ 1775736 h 1774962"/>
              <a:gd name="connsiteX2" fmla="*/ 839567 w 1774962"/>
              <a:gd name="connsiteY2" fmla="*/ 1764901 h 1774962"/>
              <a:gd name="connsiteX3" fmla="*/ 819960 w 1774962"/>
              <a:gd name="connsiteY3" fmla="*/ 1666349 h 1774962"/>
              <a:gd name="connsiteX4" fmla="*/ 822024 w 1774962"/>
              <a:gd name="connsiteY4" fmla="*/ 1636938 h 1774962"/>
              <a:gd name="connsiteX5" fmla="*/ 811704 w 1774962"/>
              <a:gd name="connsiteY5" fmla="*/ 1623523 h 1774962"/>
              <a:gd name="connsiteX6" fmla="*/ 695093 w 1774962"/>
              <a:gd name="connsiteY6" fmla="*/ 1601852 h 1774962"/>
              <a:gd name="connsiteX7" fmla="*/ 680130 w 1774962"/>
              <a:gd name="connsiteY7" fmla="*/ 1610623 h 1774962"/>
              <a:gd name="connsiteX8" fmla="*/ 615116 w 1774962"/>
              <a:gd name="connsiteY8" fmla="*/ 1727234 h 1774962"/>
              <a:gd name="connsiteX9" fmla="*/ 603765 w 1774962"/>
              <a:gd name="connsiteY9" fmla="*/ 1730330 h 1774962"/>
              <a:gd name="connsiteX10" fmla="*/ 512953 w 1774962"/>
              <a:gd name="connsiteY10" fmla="*/ 1694212 h 1774962"/>
              <a:gd name="connsiteX11" fmla="*/ 507277 w 1774962"/>
              <a:gd name="connsiteY11" fmla="*/ 1681828 h 1774962"/>
              <a:gd name="connsiteX12" fmla="*/ 527400 w 1774962"/>
              <a:gd name="connsiteY12" fmla="*/ 1583277 h 1774962"/>
              <a:gd name="connsiteX13" fmla="*/ 541848 w 1774962"/>
              <a:gd name="connsiteY13" fmla="*/ 1552834 h 1774962"/>
              <a:gd name="connsiteX14" fmla="*/ 537720 w 1774962"/>
              <a:gd name="connsiteY14" fmla="*/ 1539418 h 1774962"/>
              <a:gd name="connsiteX15" fmla="*/ 435041 w 1774962"/>
              <a:gd name="connsiteY15" fmla="*/ 1472857 h 1774962"/>
              <a:gd name="connsiteX16" fmla="*/ 420593 w 1774962"/>
              <a:gd name="connsiteY16" fmla="*/ 1474921 h 1774962"/>
              <a:gd name="connsiteX17" fmla="*/ 315334 w 1774962"/>
              <a:gd name="connsiteY17" fmla="*/ 1559026 h 1774962"/>
              <a:gd name="connsiteX18" fmla="*/ 302950 w 1774962"/>
              <a:gd name="connsiteY18" fmla="*/ 1557478 h 1774962"/>
              <a:gd name="connsiteX19" fmla="*/ 233809 w 1774962"/>
              <a:gd name="connsiteY19" fmla="*/ 1490401 h 1774962"/>
              <a:gd name="connsiteX20" fmla="*/ 232777 w 1774962"/>
              <a:gd name="connsiteY20" fmla="*/ 1476985 h 1774962"/>
              <a:gd name="connsiteX21" fmla="*/ 289019 w 1774962"/>
              <a:gd name="connsiteY21" fmla="*/ 1393397 h 1774962"/>
              <a:gd name="connsiteX22" fmla="*/ 312754 w 1774962"/>
              <a:gd name="connsiteY22" fmla="*/ 1371726 h 1774962"/>
              <a:gd name="connsiteX23" fmla="*/ 314818 w 1774962"/>
              <a:gd name="connsiteY23" fmla="*/ 1355731 h 1774962"/>
              <a:gd name="connsiteX24" fmla="*/ 246193 w 1774962"/>
              <a:gd name="connsiteY24" fmla="*/ 1255631 h 1774962"/>
              <a:gd name="connsiteX25" fmla="*/ 230713 w 1774962"/>
              <a:gd name="connsiteY25" fmla="*/ 1253051 h 1774962"/>
              <a:gd name="connsiteX26" fmla="*/ 102751 w 1774962"/>
              <a:gd name="connsiteY26" fmla="*/ 1289685 h 1774962"/>
              <a:gd name="connsiteX27" fmla="*/ 91916 w 1774962"/>
              <a:gd name="connsiteY27" fmla="*/ 1282978 h 1774962"/>
              <a:gd name="connsiteX28" fmla="*/ 53733 w 1774962"/>
              <a:gd name="connsiteY28" fmla="*/ 1194230 h 1774962"/>
              <a:gd name="connsiteX29" fmla="*/ 58377 w 1774962"/>
              <a:gd name="connsiteY29" fmla="*/ 1181330 h 1774962"/>
              <a:gd name="connsiteX30" fmla="*/ 142481 w 1774962"/>
              <a:gd name="connsiteY30" fmla="*/ 1125605 h 1774962"/>
              <a:gd name="connsiteX31" fmla="*/ 173956 w 1774962"/>
              <a:gd name="connsiteY31" fmla="*/ 1114253 h 1774962"/>
              <a:gd name="connsiteX32" fmla="*/ 180664 w 1774962"/>
              <a:gd name="connsiteY32" fmla="*/ 1101870 h 1774962"/>
              <a:gd name="connsiteX33" fmla="*/ 154865 w 1774962"/>
              <a:gd name="connsiteY33" fmla="*/ 981131 h 1774962"/>
              <a:gd name="connsiteX34" fmla="*/ 144029 w 1774962"/>
              <a:gd name="connsiteY34" fmla="*/ 973391 h 1774962"/>
              <a:gd name="connsiteX35" fmla="*/ 10391 w 1774962"/>
              <a:gd name="connsiteY35" fmla="*/ 958428 h 1774962"/>
              <a:gd name="connsiteX36" fmla="*/ 2135 w 1774962"/>
              <a:gd name="connsiteY36" fmla="*/ 948624 h 1774962"/>
              <a:gd name="connsiteX37" fmla="*/ 588 w 1774962"/>
              <a:gd name="connsiteY37" fmla="*/ 850589 h 1774962"/>
              <a:gd name="connsiteX38" fmla="*/ 10391 w 1774962"/>
              <a:gd name="connsiteY38" fmla="*/ 840785 h 1774962"/>
              <a:gd name="connsiteX39" fmla="*/ 110491 w 1774962"/>
              <a:gd name="connsiteY39" fmla="*/ 820662 h 1774962"/>
              <a:gd name="connsiteX40" fmla="*/ 139901 w 1774962"/>
              <a:gd name="connsiteY40" fmla="*/ 822726 h 1774962"/>
              <a:gd name="connsiteX41" fmla="*/ 153317 w 1774962"/>
              <a:gd name="connsiteY41" fmla="*/ 811890 h 1774962"/>
              <a:gd name="connsiteX42" fmla="*/ 174472 w 1774962"/>
              <a:gd name="connsiteY42" fmla="*/ 696827 h 1774962"/>
              <a:gd name="connsiteX43" fmla="*/ 164152 w 1774962"/>
              <a:gd name="connsiteY43" fmla="*/ 680316 h 1774962"/>
              <a:gd name="connsiteX44" fmla="*/ 49090 w 1774962"/>
              <a:gd name="connsiteY44" fmla="*/ 615819 h 1774962"/>
              <a:gd name="connsiteX45" fmla="*/ 45993 w 1774962"/>
              <a:gd name="connsiteY45" fmla="*/ 606015 h 1774962"/>
              <a:gd name="connsiteX46" fmla="*/ 82628 w 1774962"/>
              <a:gd name="connsiteY46" fmla="*/ 513655 h 1774962"/>
              <a:gd name="connsiteX47" fmla="*/ 93979 w 1774962"/>
              <a:gd name="connsiteY47" fmla="*/ 508496 h 1774962"/>
              <a:gd name="connsiteX48" fmla="*/ 224006 w 1774962"/>
              <a:gd name="connsiteY48" fmla="*/ 543066 h 1774962"/>
              <a:gd name="connsiteX49" fmla="*/ 236905 w 1774962"/>
              <a:gd name="connsiteY49" fmla="*/ 538938 h 1774962"/>
              <a:gd name="connsiteX50" fmla="*/ 302434 w 1774962"/>
              <a:gd name="connsiteY50" fmla="*/ 437291 h 1774962"/>
              <a:gd name="connsiteX51" fmla="*/ 302950 w 1774962"/>
              <a:gd name="connsiteY51" fmla="*/ 423359 h 1774962"/>
              <a:gd name="connsiteX52" fmla="*/ 238453 w 1774962"/>
              <a:gd name="connsiteY52" fmla="*/ 346995 h 1774962"/>
              <a:gd name="connsiteX53" fmla="*/ 228650 w 1774962"/>
              <a:gd name="connsiteY53" fmla="*/ 333063 h 1774962"/>
              <a:gd name="connsiteX54" fmla="*/ 230713 w 1774962"/>
              <a:gd name="connsiteY54" fmla="*/ 290237 h 1774962"/>
              <a:gd name="connsiteX55" fmla="*/ 283859 w 1774962"/>
              <a:gd name="connsiteY55" fmla="*/ 236060 h 1774962"/>
              <a:gd name="connsiteX56" fmla="*/ 300370 w 1774962"/>
              <a:gd name="connsiteY56" fmla="*/ 234512 h 1774962"/>
              <a:gd name="connsiteX57" fmla="*/ 380863 w 1774962"/>
              <a:gd name="connsiteY57" fmla="*/ 288173 h 1774962"/>
              <a:gd name="connsiteX58" fmla="*/ 403050 w 1774962"/>
              <a:gd name="connsiteY58" fmla="*/ 311392 h 1774962"/>
              <a:gd name="connsiteX59" fmla="*/ 422141 w 1774962"/>
              <a:gd name="connsiteY59" fmla="*/ 313972 h 1774962"/>
              <a:gd name="connsiteX60" fmla="*/ 519661 w 1774962"/>
              <a:gd name="connsiteY60" fmla="*/ 246895 h 1774962"/>
              <a:gd name="connsiteX61" fmla="*/ 524820 w 1774962"/>
              <a:gd name="connsiteY61" fmla="*/ 233996 h 1774962"/>
              <a:gd name="connsiteX62" fmla="*/ 492314 w 1774962"/>
              <a:gd name="connsiteY62" fmla="*/ 127704 h 1774962"/>
              <a:gd name="connsiteX63" fmla="*/ 514501 w 1774962"/>
              <a:gd name="connsiteY63" fmla="*/ 82298 h 1774962"/>
              <a:gd name="connsiteX64" fmla="*/ 578482 w 1774962"/>
              <a:gd name="connsiteY64" fmla="*/ 55468 h 1774962"/>
              <a:gd name="connsiteX65" fmla="*/ 595509 w 1774962"/>
              <a:gd name="connsiteY65" fmla="*/ 60111 h 1774962"/>
              <a:gd name="connsiteX66" fmla="*/ 648655 w 1774962"/>
              <a:gd name="connsiteY66" fmla="*/ 139572 h 1774962"/>
              <a:gd name="connsiteX67" fmla="*/ 661039 w 1774962"/>
              <a:gd name="connsiteY67" fmla="*/ 172078 h 1774962"/>
              <a:gd name="connsiteX68" fmla="*/ 675486 w 1774962"/>
              <a:gd name="connsiteY68" fmla="*/ 180334 h 1774962"/>
              <a:gd name="connsiteX69" fmla="*/ 792613 w 1774962"/>
              <a:gd name="connsiteY69" fmla="*/ 155567 h 1774962"/>
              <a:gd name="connsiteX70" fmla="*/ 801900 w 1774962"/>
              <a:gd name="connsiteY70" fmla="*/ 143700 h 1774962"/>
              <a:gd name="connsiteX71" fmla="*/ 816864 w 1774962"/>
              <a:gd name="connsiteY71" fmla="*/ 11094 h 1774962"/>
              <a:gd name="connsiteX72" fmla="*/ 826151 w 1774962"/>
              <a:gd name="connsiteY72" fmla="*/ 2322 h 1774962"/>
              <a:gd name="connsiteX73" fmla="*/ 925219 w 1774962"/>
              <a:gd name="connsiteY73" fmla="*/ 774 h 1774962"/>
              <a:gd name="connsiteX74" fmla="*/ 934507 w 1774962"/>
              <a:gd name="connsiteY74" fmla="*/ 10062 h 1774962"/>
              <a:gd name="connsiteX75" fmla="*/ 954114 w 1774962"/>
              <a:gd name="connsiteY75" fmla="*/ 111193 h 1774962"/>
              <a:gd name="connsiteX76" fmla="*/ 952050 w 1774962"/>
              <a:gd name="connsiteY76" fmla="*/ 140604 h 1774962"/>
              <a:gd name="connsiteX77" fmla="*/ 962369 w 1774962"/>
              <a:gd name="connsiteY77" fmla="*/ 152987 h 1774962"/>
              <a:gd name="connsiteX78" fmla="*/ 1078980 w 1774962"/>
              <a:gd name="connsiteY78" fmla="*/ 174658 h 1774962"/>
              <a:gd name="connsiteX79" fmla="*/ 1093428 w 1774962"/>
              <a:gd name="connsiteY79" fmla="*/ 168467 h 1774962"/>
              <a:gd name="connsiteX80" fmla="*/ 1147089 w 1774962"/>
              <a:gd name="connsiteY80" fmla="*/ 69399 h 1774962"/>
              <a:gd name="connsiteX81" fmla="*/ 1192495 w 1774962"/>
              <a:gd name="connsiteY81" fmla="*/ 54436 h 1774962"/>
              <a:gd name="connsiteX82" fmla="*/ 1258024 w 1774962"/>
              <a:gd name="connsiteY82" fmla="*/ 81266 h 1774962"/>
              <a:gd name="connsiteX83" fmla="*/ 1267312 w 1774962"/>
              <a:gd name="connsiteY83" fmla="*/ 96746 h 1774962"/>
              <a:gd name="connsiteX84" fmla="*/ 1247705 w 1774962"/>
              <a:gd name="connsiteY84" fmla="*/ 192718 h 1774962"/>
              <a:gd name="connsiteX85" fmla="*/ 1233258 w 1774962"/>
              <a:gd name="connsiteY85" fmla="*/ 224192 h 1774962"/>
              <a:gd name="connsiteX86" fmla="*/ 1237385 w 1774962"/>
              <a:gd name="connsiteY86" fmla="*/ 237608 h 1774962"/>
              <a:gd name="connsiteX87" fmla="*/ 1340065 w 1774962"/>
              <a:gd name="connsiteY87" fmla="*/ 304169 h 1774962"/>
              <a:gd name="connsiteX88" fmla="*/ 1354512 w 1774962"/>
              <a:gd name="connsiteY88" fmla="*/ 302621 h 1774962"/>
              <a:gd name="connsiteX89" fmla="*/ 1459771 w 1774962"/>
              <a:gd name="connsiteY89" fmla="*/ 218516 h 1774962"/>
              <a:gd name="connsiteX90" fmla="*/ 1472155 w 1774962"/>
              <a:gd name="connsiteY90" fmla="*/ 220064 h 1774962"/>
              <a:gd name="connsiteX91" fmla="*/ 1541296 w 1774962"/>
              <a:gd name="connsiteY91" fmla="*/ 287657 h 1774962"/>
              <a:gd name="connsiteX92" fmla="*/ 1542328 w 1774962"/>
              <a:gd name="connsiteY92" fmla="*/ 301073 h 1774962"/>
              <a:gd name="connsiteX93" fmla="*/ 1485570 w 1774962"/>
              <a:gd name="connsiteY93" fmla="*/ 385693 h 1774962"/>
              <a:gd name="connsiteX94" fmla="*/ 1462868 w 1774962"/>
              <a:gd name="connsiteY94" fmla="*/ 406332 h 1774962"/>
              <a:gd name="connsiteX95" fmla="*/ 1460803 w 1774962"/>
              <a:gd name="connsiteY95" fmla="*/ 422327 h 1774962"/>
              <a:gd name="connsiteX96" fmla="*/ 1529428 w 1774962"/>
              <a:gd name="connsiteY96" fmla="*/ 522427 h 1774962"/>
              <a:gd name="connsiteX97" fmla="*/ 1544908 w 1774962"/>
              <a:gd name="connsiteY97" fmla="*/ 525007 h 1774962"/>
              <a:gd name="connsiteX98" fmla="*/ 1672870 w 1774962"/>
              <a:gd name="connsiteY98" fmla="*/ 488373 h 1774962"/>
              <a:gd name="connsiteX99" fmla="*/ 1683706 w 1774962"/>
              <a:gd name="connsiteY99" fmla="*/ 495080 h 1774962"/>
              <a:gd name="connsiteX100" fmla="*/ 1721888 w 1774962"/>
              <a:gd name="connsiteY100" fmla="*/ 583828 h 1774962"/>
              <a:gd name="connsiteX101" fmla="*/ 1717244 w 1774962"/>
              <a:gd name="connsiteY101" fmla="*/ 596728 h 1774962"/>
              <a:gd name="connsiteX102" fmla="*/ 1633140 w 1774962"/>
              <a:gd name="connsiteY102" fmla="*/ 652453 h 1774962"/>
              <a:gd name="connsiteX103" fmla="*/ 1601665 w 1774962"/>
              <a:gd name="connsiteY103" fmla="*/ 663805 h 1774962"/>
              <a:gd name="connsiteX104" fmla="*/ 1594958 w 1774962"/>
              <a:gd name="connsiteY104" fmla="*/ 676188 h 1774962"/>
              <a:gd name="connsiteX105" fmla="*/ 1620241 w 1774962"/>
              <a:gd name="connsiteY105" fmla="*/ 795895 h 1774962"/>
              <a:gd name="connsiteX106" fmla="*/ 1631076 w 1774962"/>
              <a:gd name="connsiteY106" fmla="*/ 804667 h 1774962"/>
              <a:gd name="connsiteX107" fmla="*/ 1763682 w 1774962"/>
              <a:gd name="connsiteY107" fmla="*/ 819630 h 1774962"/>
              <a:gd name="connsiteX108" fmla="*/ 1773486 w 1774962"/>
              <a:gd name="connsiteY108" fmla="*/ 829950 h 1774962"/>
              <a:gd name="connsiteX109" fmla="*/ 1775034 w 1774962"/>
              <a:gd name="connsiteY109" fmla="*/ 927985 h 1774962"/>
              <a:gd name="connsiteX110" fmla="*/ 1766262 w 1774962"/>
              <a:gd name="connsiteY110" fmla="*/ 937273 h 1774962"/>
              <a:gd name="connsiteX111" fmla="*/ 1663583 w 1774962"/>
              <a:gd name="connsiteY111" fmla="*/ 957396 h 1774962"/>
              <a:gd name="connsiteX112" fmla="*/ 1636752 w 1774962"/>
              <a:gd name="connsiteY112" fmla="*/ 955332 h 1774962"/>
              <a:gd name="connsiteX113" fmla="*/ 1622304 w 1774962"/>
              <a:gd name="connsiteY113" fmla="*/ 966684 h 1774962"/>
              <a:gd name="connsiteX114" fmla="*/ 1601149 w 1774962"/>
              <a:gd name="connsiteY114" fmla="*/ 1081746 h 1774962"/>
              <a:gd name="connsiteX115" fmla="*/ 1610437 w 1774962"/>
              <a:gd name="connsiteY115" fmla="*/ 1097742 h 1774962"/>
              <a:gd name="connsiteX116" fmla="*/ 1726016 w 1774962"/>
              <a:gd name="connsiteY116" fmla="*/ 1161723 h 1774962"/>
              <a:gd name="connsiteX117" fmla="*/ 1729112 w 1774962"/>
              <a:gd name="connsiteY117" fmla="*/ 1174107 h 1774962"/>
              <a:gd name="connsiteX118" fmla="*/ 1693509 w 1774962"/>
              <a:gd name="connsiteY118" fmla="*/ 1263887 h 1774962"/>
              <a:gd name="connsiteX119" fmla="*/ 1681126 w 1774962"/>
              <a:gd name="connsiteY119" fmla="*/ 1270078 h 1774962"/>
              <a:gd name="connsiteX120" fmla="*/ 1581542 w 1774962"/>
              <a:gd name="connsiteY120" fmla="*/ 1249955 h 1774962"/>
              <a:gd name="connsiteX121" fmla="*/ 1552647 w 1774962"/>
              <a:gd name="connsiteY121" fmla="*/ 1236024 h 1774962"/>
              <a:gd name="connsiteX122" fmla="*/ 1538200 w 1774962"/>
              <a:gd name="connsiteY122" fmla="*/ 1240152 h 1774962"/>
              <a:gd name="connsiteX123" fmla="*/ 1473187 w 1774962"/>
              <a:gd name="connsiteY123" fmla="*/ 1340767 h 1774962"/>
              <a:gd name="connsiteX124" fmla="*/ 1475251 w 1774962"/>
              <a:gd name="connsiteY124" fmla="*/ 1358310 h 1774962"/>
              <a:gd name="connsiteX125" fmla="*/ 1535104 w 1774962"/>
              <a:gd name="connsiteY125" fmla="*/ 1430031 h 1774962"/>
              <a:gd name="connsiteX126" fmla="*/ 1545424 w 1774962"/>
              <a:gd name="connsiteY126" fmla="*/ 1444995 h 1774962"/>
              <a:gd name="connsiteX127" fmla="*/ 1542844 w 1774962"/>
              <a:gd name="connsiteY127" fmla="*/ 1489885 h 1774962"/>
              <a:gd name="connsiteX128" fmla="*/ 1491246 w 1774962"/>
              <a:gd name="connsiteY128" fmla="*/ 1542514 h 1774962"/>
              <a:gd name="connsiteX129" fmla="*/ 1472155 w 1774962"/>
              <a:gd name="connsiteY129" fmla="*/ 1544062 h 1774962"/>
              <a:gd name="connsiteX130" fmla="*/ 1393726 w 1774962"/>
              <a:gd name="connsiteY130" fmla="*/ 1491948 h 1774962"/>
              <a:gd name="connsiteX131" fmla="*/ 1369992 w 1774962"/>
              <a:gd name="connsiteY131" fmla="*/ 1466666 h 1774962"/>
              <a:gd name="connsiteX132" fmla="*/ 1352964 w 1774962"/>
              <a:gd name="connsiteY132" fmla="*/ 1464602 h 1774962"/>
              <a:gd name="connsiteX133" fmla="*/ 1254413 w 1774962"/>
              <a:gd name="connsiteY133" fmla="*/ 1532711 h 1774962"/>
              <a:gd name="connsiteX134" fmla="*/ 1248737 w 1774962"/>
              <a:gd name="connsiteY134" fmla="*/ 1544578 h 1774962"/>
              <a:gd name="connsiteX135" fmla="*/ 1284339 w 1774962"/>
              <a:gd name="connsiteY135" fmla="*/ 1662221 h 1774962"/>
              <a:gd name="connsiteX136" fmla="*/ 1268860 w 1774962"/>
              <a:gd name="connsiteY136" fmla="*/ 1693180 h 1774962"/>
              <a:gd name="connsiteX137" fmla="*/ 1195591 w 1774962"/>
              <a:gd name="connsiteY137" fmla="*/ 1724654 h 1774962"/>
              <a:gd name="connsiteX138" fmla="*/ 1178564 w 1774962"/>
              <a:gd name="connsiteY138" fmla="*/ 1719495 h 1774962"/>
              <a:gd name="connsiteX139" fmla="*/ 1125418 w 1774962"/>
              <a:gd name="connsiteY139" fmla="*/ 1640034 h 1774962"/>
              <a:gd name="connsiteX140" fmla="*/ 1113035 w 1774962"/>
              <a:gd name="connsiteY140" fmla="*/ 1606496 h 1774962"/>
              <a:gd name="connsiteX141" fmla="*/ 1099619 w 1774962"/>
              <a:gd name="connsiteY141" fmla="*/ 1599272 h 1774962"/>
              <a:gd name="connsiteX142" fmla="*/ 979913 w 1774962"/>
              <a:gd name="connsiteY142" fmla="*/ 1624555 h 1774962"/>
              <a:gd name="connsiteX143" fmla="*/ 972173 w 1774962"/>
              <a:gd name="connsiteY143" fmla="*/ 1634874 h 1774962"/>
              <a:gd name="connsiteX144" fmla="*/ 957726 w 1774962"/>
              <a:gd name="connsiteY144" fmla="*/ 1767481 h 1774962"/>
              <a:gd name="connsiteX145" fmla="*/ 945858 w 1774962"/>
              <a:gd name="connsiteY145" fmla="*/ 1777800 h 1774962"/>
              <a:gd name="connsiteX146" fmla="*/ 895808 w 1774962"/>
              <a:gd name="connsiteY146" fmla="*/ 1779864 h 1774962"/>
              <a:gd name="connsiteX147" fmla="*/ 894776 w 1774962"/>
              <a:gd name="connsiteY147" fmla="*/ 1775736 h 1774962"/>
              <a:gd name="connsiteX148" fmla="*/ 890648 w 1774962"/>
              <a:gd name="connsiteY148" fmla="*/ 1454798 h 1774962"/>
              <a:gd name="connsiteX149" fmla="*/ 1452548 w 1774962"/>
              <a:gd name="connsiteY149" fmla="*/ 884127 h 1774962"/>
              <a:gd name="connsiteX150" fmla="*/ 881361 w 1774962"/>
              <a:gd name="connsiteY150" fmla="*/ 322228 h 1774962"/>
              <a:gd name="connsiteX151" fmla="*/ 320494 w 1774962"/>
              <a:gd name="connsiteY151" fmla="*/ 893415 h 1774962"/>
              <a:gd name="connsiteX152" fmla="*/ 890648 w 1774962"/>
              <a:gd name="connsiteY152" fmla="*/ 1454798 h 1774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1774962" h="1774962">
                <a:moveTo>
                  <a:pt x="894776" y="1775736"/>
                </a:moveTo>
                <a:cubicBezTo>
                  <a:pt x="880845" y="1775736"/>
                  <a:pt x="866397" y="1775736"/>
                  <a:pt x="852466" y="1775736"/>
                </a:cubicBezTo>
                <a:cubicBezTo>
                  <a:pt x="844726" y="1775736"/>
                  <a:pt x="840599" y="1772640"/>
                  <a:pt x="839567" y="1764901"/>
                </a:cubicBezTo>
                <a:cubicBezTo>
                  <a:pt x="833375" y="1731878"/>
                  <a:pt x="826151" y="1699371"/>
                  <a:pt x="819960" y="1666349"/>
                </a:cubicBezTo>
                <a:cubicBezTo>
                  <a:pt x="817896" y="1656545"/>
                  <a:pt x="820992" y="1646742"/>
                  <a:pt x="822024" y="1636938"/>
                </a:cubicBezTo>
                <a:cubicBezTo>
                  <a:pt x="823056" y="1628682"/>
                  <a:pt x="820992" y="1624555"/>
                  <a:pt x="811704" y="1623523"/>
                </a:cubicBezTo>
                <a:cubicBezTo>
                  <a:pt x="772490" y="1619395"/>
                  <a:pt x="733275" y="1612171"/>
                  <a:pt x="695093" y="1601852"/>
                </a:cubicBezTo>
                <a:cubicBezTo>
                  <a:pt x="686837" y="1599788"/>
                  <a:pt x="682194" y="1602368"/>
                  <a:pt x="680130" y="1610623"/>
                </a:cubicBezTo>
                <a:cubicBezTo>
                  <a:pt x="669294" y="1655513"/>
                  <a:pt x="636788" y="1688020"/>
                  <a:pt x="615116" y="1727234"/>
                </a:cubicBezTo>
                <a:cubicBezTo>
                  <a:pt x="612537" y="1731878"/>
                  <a:pt x="608409" y="1731878"/>
                  <a:pt x="603765" y="1730330"/>
                </a:cubicBezTo>
                <a:cubicBezTo>
                  <a:pt x="572807" y="1720011"/>
                  <a:pt x="542364" y="1707627"/>
                  <a:pt x="512953" y="1694212"/>
                </a:cubicBezTo>
                <a:cubicBezTo>
                  <a:pt x="506761" y="1691632"/>
                  <a:pt x="506245" y="1686988"/>
                  <a:pt x="507277" y="1681828"/>
                </a:cubicBezTo>
                <a:cubicBezTo>
                  <a:pt x="513985" y="1648806"/>
                  <a:pt x="519661" y="1615783"/>
                  <a:pt x="527400" y="1583277"/>
                </a:cubicBezTo>
                <a:cubicBezTo>
                  <a:pt x="529980" y="1572441"/>
                  <a:pt x="536172" y="1562637"/>
                  <a:pt x="541848" y="1552834"/>
                </a:cubicBezTo>
                <a:cubicBezTo>
                  <a:pt x="545460" y="1546642"/>
                  <a:pt x="544428" y="1543030"/>
                  <a:pt x="537720" y="1539418"/>
                </a:cubicBezTo>
                <a:cubicBezTo>
                  <a:pt x="501601" y="1520327"/>
                  <a:pt x="467547" y="1497624"/>
                  <a:pt x="435041" y="1472857"/>
                </a:cubicBezTo>
                <a:cubicBezTo>
                  <a:pt x="429365" y="1468214"/>
                  <a:pt x="425237" y="1468214"/>
                  <a:pt x="420593" y="1474921"/>
                </a:cubicBezTo>
                <a:cubicBezTo>
                  <a:pt x="393762" y="1512588"/>
                  <a:pt x="350936" y="1531163"/>
                  <a:pt x="315334" y="1559026"/>
                </a:cubicBezTo>
                <a:cubicBezTo>
                  <a:pt x="310690" y="1562637"/>
                  <a:pt x="307078" y="1561090"/>
                  <a:pt x="302950" y="1557478"/>
                </a:cubicBezTo>
                <a:cubicBezTo>
                  <a:pt x="278699" y="1536323"/>
                  <a:pt x="255996" y="1513104"/>
                  <a:pt x="233809" y="1490401"/>
                </a:cubicBezTo>
                <a:cubicBezTo>
                  <a:pt x="229682" y="1485757"/>
                  <a:pt x="229165" y="1482145"/>
                  <a:pt x="232777" y="1476985"/>
                </a:cubicBezTo>
                <a:cubicBezTo>
                  <a:pt x="251352" y="1449122"/>
                  <a:pt x="269928" y="1421260"/>
                  <a:pt x="289019" y="1393397"/>
                </a:cubicBezTo>
                <a:cubicBezTo>
                  <a:pt x="295210" y="1384625"/>
                  <a:pt x="304498" y="1378949"/>
                  <a:pt x="312754" y="1371726"/>
                </a:cubicBezTo>
                <a:cubicBezTo>
                  <a:pt x="318946" y="1366566"/>
                  <a:pt x="319978" y="1361922"/>
                  <a:pt x="314818" y="1355731"/>
                </a:cubicBezTo>
                <a:cubicBezTo>
                  <a:pt x="289535" y="1324256"/>
                  <a:pt x="266316" y="1291233"/>
                  <a:pt x="246193" y="1255631"/>
                </a:cubicBezTo>
                <a:cubicBezTo>
                  <a:pt x="241549" y="1247375"/>
                  <a:pt x="236905" y="1248923"/>
                  <a:pt x="230713" y="1253051"/>
                </a:cubicBezTo>
                <a:cubicBezTo>
                  <a:pt x="191499" y="1277302"/>
                  <a:pt x="145577" y="1277818"/>
                  <a:pt x="102751" y="1289685"/>
                </a:cubicBezTo>
                <a:cubicBezTo>
                  <a:pt x="97075" y="1291233"/>
                  <a:pt x="93979" y="1288137"/>
                  <a:pt x="91916" y="1282978"/>
                </a:cubicBezTo>
                <a:cubicBezTo>
                  <a:pt x="77984" y="1254083"/>
                  <a:pt x="65085" y="1224156"/>
                  <a:pt x="53733" y="1194230"/>
                </a:cubicBezTo>
                <a:cubicBezTo>
                  <a:pt x="51669" y="1188038"/>
                  <a:pt x="53217" y="1184426"/>
                  <a:pt x="58377" y="1181330"/>
                </a:cubicBezTo>
                <a:cubicBezTo>
                  <a:pt x="86240" y="1162755"/>
                  <a:pt x="113587" y="1143664"/>
                  <a:pt x="142481" y="1125605"/>
                </a:cubicBezTo>
                <a:cubicBezTo>
                  <a:pt x="151769" y="1119929"/>
                  <a:pt x="163120" y="1117349"/>
                  <a:pt x="173956" y="1114253"/>
                </a:cubicBezTo>
                <a:cubicBezTo>
                  <a:pt x="180664" y="1112189"/>
                  <a:pt x="182727" y="1109093"/>
                  <a:pt x="180664" y="1101870"/>
                </a:cubicBezTo>
                <a:cubicBezTo>
                  <a:pt x="168796" y="1062139"/>
                  <a:pt x="160541" y="1021893"/>
                  <a:pt x="154865" y="981131"/>
                </a:cubicBezTo>
                <a:cubicBezTo>
                  <a:pt x="153833" y="974423"/>
                  <a:pt x="150737" y="972359"/>
                  <a:pt x="144029" y="973391"/>
                </a:cubicBezTo>
                <a:cubicBezTo>
                  <a:pt x="98107" y="981131"/>
                  <a:pt x="54765" y="963588"/>
                  <a:pt x="10391" y="958428"/>
                </a:cubicBezTo>
                <a:cubicBezTo>
                  <a:pt x="4715" y="957912"/>
                  <a:pt x="2652" y="954300"/>
                  <a:pt x="2135" y="948624"/>
                </a:cubicBezTo>
                <a:cubicBezTo>
                  <a:pt x="-960" y="916118"/>
                  <a:pt x="72" y="883611"/>
                  <a:pt x="588" y="850589"/>
                </a:cubicBezTo>
                <a:cubicBezTo>
                  <a:pt x="588" y="844397"/>
                  <a:pt x="4715" y="841817"/>
                  <a:pt x="10391" y="840785"/>
                </a:cubicBezTo>
                <a:cubicBezTo>
                  <a:pt x="43930" y="834077"/>
                  <a:pt x="76952" y="827370"/>
                  <a:pt x="110491" y="820662"/>
                </a:cubicBezTo>
                <a:cubicBezTo>
                  <a:pt x="120294" y="818598"/>
                  <a:pt x="130098" y="821694"/>
                  <a:pt x="139901" y="822726"/>
                </a:cubicBezTo>
                <a:cubicBezTo>
                  <a:pt x="148157" y="823758"/>
                  <a:pt x="152285" y="820662"/>
                  <a:pt x="153317" y="811890"/>
                </a:cubicBezTo>
                <a:cubicBezTo>
                  <a:pt x="157445" y="773192"/>
                  <a:pt x="164668" y="734494"/>
                  <a:pt x="174472" y="696827"/>
                </a:cubicBezTo>
                <a:cubicBezTo>
                  <a:pt x="177052" y="687024"/>
                  <a:pt x="173440" y="682380"/>
                  <a:pt x="164152" y="680316"/>
                </a:cubicBezTo>
                <a:cubicBezTo>
                  <a:pt x="120294" y="668965"/>
                  <a:pt x="87272" y="636974"/>
                  <a:pt x="49090" y="615819"/>
                </a:cubicBezTo>
                <a:cubicBezTo>
                  <a:pt x="44961" y="613755"/>
                  <a:pt x="44961" y="610143"/>
                  <a:pt x="45993" y="606015"/>
                </a:cubicBezTo>
                <a:cubicBezTo>
                  <a:pt x="56313" y="574541"/>
                  <a:pt x="69212" y="544098"/>
                  <a:pt x="82628" y="513655"/>
                </a:cubicBezTo>
                <a:cubicBezTo>
                  <a:pt x="85208" y="507980"/>
                  <a:pt x="89336" y="506948"/>
                  <a:pt x="93979" y="508496"/>
                </a:cubicBezTo>
                <a:cubicBezTo>
                  <a:pt x="137322" y="519847"/>
                  <a:pt x="183760" y="518815"/>
                  <a:pt x="224006" y="543066"/>
                </a:cubicBezTo>
                <a:cubicBezTo>
                  <a:pt x="230713" y="547194"/>
                  <a:pt x="233809" y="544614"/>
                  <a:pt x="236905" y="538938"/>
                </a:cubicBezTo>
                <a:cubicBezTo>
                  <a:pt x="255996" y="503336"/>
                  <a:pt x="278183" y="469281"/>
                  <a:pt x="302434" y="437291"/>
                </a:cubicBezTo>
                <a:cubicBezTo>
                  <a:pt x="305530" y="433163"/>
                  <a:pt x="310690" y="428519"/>
                  <a:pt x="302950" y="423359"/>
                </a:cubicBezTo>
                <a:cubicBezTo>
                  <a:pt x="273540" y="404268"/>
                  <a:pt x="258576" y="373826"/>
                  <a:pt x="238453" y="346995"/>
                </a:cubicBezTo>
                <a:cubicBezTo>
                  <a:pt x="234841" y="342351"/>
                  <a:pt x="232262" y="337707"/>
                  <a:pt x="228650" y="333063"/>
                </a:cubicBezTo>
                <a:cubicBezTo>
                  <a:pt x="212654" y="310360"/>
                  <a:pt x="212138" y="309844"/>
                  <a:pt x="230713" y="290237"/>
                </a:cubicBezTo>
                <a:cubicBezTo>
                  <a:pt x="248257" y="271662"/>
                  <a:pt x="266316" y="254119"/>
                  <a:pt x="283859" y="236060"/>
                </a:cubicBezTo>
                <a:cubicBezTo>
                  <a:pt x="289535" y="230384"/>
                  <a:pt x="294179" y="229868"/>
                  <a:pt x="300370" y="234512"/>
                </a:cubicBezTo>
                <a:cubicBezTo>
                  <a:pt x="327201" y="252571"/>
                  <a:pt x="354032" y="270114"/>
                  <a:pt x="380863" y="288173"/>
                </a:cubicBezTo>
                <a:cubicBezTo>
                  <a:pt x="390150" y="294365"/>
                  <a:pt x="396342" y="303137"/>
                  <a:pt x="403050" y="311392"/>
                </a:cubicBezTo>
                <a:cubicBezTo>
                  <a:pt x="408726" y="319132"/>
                  <a:pt x="413885" y="320680"/>
                  <a:pt x="422141" y="313972"/>
                </a:cubicBezTo>
                <a:cubicBezTo>
                  <a:pt x="452584" y="288689"/>
                  <a:pt x="485606" y="266502"/>
                  <a:pt x="519661" y="246895"/>
                </a:cubicBezTo>
                <a:cubicBezTo>
                  <a:pt x="524820" y="243799"/>
                  <a:pt x="529464" y="240703"/>
                  <a:pt x="524820" y="233996"/>
                </a:cubicBezTo>
                <a:cubicBezTo>
                  <a:pt x="502633" y="202005"/>
                  <a:pt x="501086" y="163823"/>
                  <a:pt x="492314" y="127704"/>
                </a:cubicBezTo>
                <a:cubicBezTo>
                  <a:pt x="484574" y="96230"/>
                  <a:pt x="485606" y="96746"/>
                  <a:pt x="514501" y="82298"/>
                </a:cubicBezTo>
                <a:cubicBezTo>
                  <a:pt x="535140" y="71979"/>
                  <a:pt x="557327" y="64239"/>
                  <a:pt x="578482" y="55468"/>
                </a:cubicBezTo>
                <a:cubicBezTo>
                  <a:pt x="586222" y="52372"/>
                  <a:pt x="590866" y="52888"/>
                  <a:pt x="595509" y="60111"/>
                </a:cubicBezTo>
                <a:cubicBezTo>
                  <a:pt x="613053" y="86942"/>
                  <a:pt x="630596" y="113257"/>
                  <a:pt x="648655" y="139572"/>
                </a:cubicBezTo>
                <a:cubicBezTo>
                  <a:pt x="655363" y="149375"/>
                  <a:pt x="657427" y="160727"/>
                  <a:pt x="661039" y="172078"/>
                </a:cubicBezTo>
                <a:cubicBezTo>
                  <a:pt x="663618" y="180334"/>
                  <a:pt x="667230" y="182914"/>
                  <a:pt x="675486" y="180334"/>
                </a:cubicBezTo>
                <a:cubicBezTo>
                  <a:pt x="713668" y="168983"/>
                  <a:pt x="752882" y="160727"/>
                  <a:pt x="792613" y="155567"/>
                </a:cubicBezTo>
                <a:cubicBezTo>
                  <a:pt x="800352" y="154535"/>
                  <a:pt x="802932" y="151439"/>
                  <a:pt x="801900" y="143700"/>
                </a:cubicBezTo>
                <a:cubicBezTo>
                  <a:pt x="795193" y="98294"/>
                  <a:pt x="811704" y="55468"/>
                  <a:pt x="816864" y="11094"/>
                </a:cubicBezTo>
                <a:cubicBezTo>
                  <a:pt x="817380" y="5934"/>
                  <a:pt x="820476" y="2838"/>
                  <a:pt x="826151" y="2322"/>
                </a:cubicBezTo>
                <a:cubicBezTo>
                  <a:pt x="859174" y="-1290"/>
                  <a:pt x="892196" y="258"/>
                  <a:pt x="925219" y="774"/>
                </a:cubicBezTo>
                <a:cubicBezTo>
                  <a:pt x="930895" y="774"/>
                  <a:pt x="933475" y="4902"/>
                  <a:pt x="934507" y="10062"/>
                </a:cubicBezTo>
                <a:cubicBezTo>
                  <a:pt x="941214" y="43600"/>
                  <a:pt x="948438" y="77139"/>
                  <a:pt x="954114" y="111193"/>
                </a:cubicBezTo>
                <a:cubicBezTo>
                  <a:pt x="955662" y="120481"/>
                  <a:pt x="953082" y="130800"/>
                  <a:pt x="952050" y="140604"/>
                </a:cubicBezTo>
                <a:cubicBezTo>
                  <a:pt x="951018" y="148343"/>
                  <a:pt x="954114" y="151955"/>
                  <a:pt x="962369" y="152987"/>
                </a:cubicBezTo>
                <a:cubicBezTo>
                  <a:pt x="1001584" y="157115"/>
                  <a:pt x="1040798" y="164339"/>
                  <a:pt x="1078980" y="174658"/>
                </a:cubicBezTo>
                <a:cubicBezTo>
                  <a:pt x="1085172" y="176206"/>
                  <a:pt x="1091364" y="176722"/>
                  <a:pt x="1093428" y="168467"/>
                </a:cubicBezTo>
                <a:cubicBezTo>
                  <a:pt x="1101683" y="130284"/>
                  <a:pt x="1127482" y="101390"/>
                  <a:pt x="1147089" y="69399"/>
                </a:cubicBezTo>
                <a:cubicBezTo>
                  <a:pt x="1162569" y="43084"/>
                  <a:pt x="1163601" y="43600"/>
                  <a:pt x="1192495" y="54436"/>
                </a:cubicBezTo>
                <a:cubicBezTo>
                  <a:pt x="1214682" y="62691"/>
                  <a:pt x="1236353" y="71979"/>
                  <a:pt x="1258024" y="81266"/>
                </a:cubicBezTo>
                <a:cubicBezTo>
                  <a:pt x="1265764" y="84362"/>
                  <a:pt x="1268860" y="88490"/>
                  <a:pt x="1267312" y="96746"/>
                </a:cubicBezTo>
                <a:cubicBezTo>
                  <a:pt x="1260604" y="128736"/>
                  <a:pt x="1254928" y="160727"/>
                  <a:pt x="1247705" y="192718"/>
                </a:cubicBezTo>
                <a:cubicBezTo>
                  <a:pt x="1245125" y="203553"/>
                  <a:pt x="1238417" y="213873"/>
                  <a:pt x="1233258" y="224192"/>
                </a:cubicBezTo>
                <a:cubicBezTo>
                  <a:pt x="1229646" y="230384"/>
                  <a:pt x="1230678" y="233996"/>
                  <a:pt x="1237385" y="237608"/>
                </a:cubicBezTo>
                <a:cubicBezTo>
                  <a:pt x="1273504" y="256699"/>
                  <a:pt x="1307558" y="279402"/>
                  <a:pt x="1340065" y="304169"/>
                </a:cubicBezTo>
                <a:cubicBezTo>
                  <a:pt x="1345741" y="308812"/>
                  <a:pt x="1349868" y="309328"/>
                  <a:pt x="1354512" y="302621"/>
                </a:cubicBezTo>
                <a:cubicBezTo>
                  <a:pt x="1381343" y="264954"/>
                  <a:pt x="1424169" y="246379"/>
                  <a:pt x="1459771" y="218516"/>
                </a:cubicBezTo>
                <a:cubicBezTo>
                  <a:pt x="1464415" y="214905"/>
                  <a:pt x="1468027" y="216452"/>
                  <a:pt x="1472155" y="220064"/>
                </a:cubicBezTo>
                <a:cubicBezTo>
                  <a:pt x="1496406" y="241219"/>
                  <a:pt x="1519109" y="264438"/>
                  <a:pt x="1541296" y="287657"/>
                </a:cubicBezTo>
                <a:cubicBezTo>
                  <a:pt x="1545424" y="292301"/>
                  <a:pt x="1545940" y="296429"/>
                  <a:pt x="1542328" y="301073"/>
                </a:cubicBezTo>
                <a:cubicBezTo>
                  <a:pt x="1523237" y="329452"/>
                  <a:pt x="1505177" y="357830"/>
                  <a:pt x="1485570" y="385693"/>
                </a:cubicBezTo>
                <a:cubicBezTo>
                  <a:pt x="1479895" y="393949"/>
                  <a:pt x="1470607" y="400140"/>
                  <a:pt x="1462868" y="406332"/>
                </a:cubicBezTo>
                <a:cubicBezTo>
                  <a:pt x="1456676" y="411492"/>
                  <a:pt x="1455644" y="416136"/>
                  <a:pt x="1460803" y="422327"/>
                </a:cubicBezTo>
                <a:cubicBezTo>
                  <a:pt x="1486086" y="453802"/>
                  <a:pt x="1509305" y="487341"/>
                  <a:pt x="1529428" y="522427"/>
                </a:cubicBezTo>
                <a:cubicBezTo>
                  <a:pt x="1534072" y="530167"/>
                  <a:pt x="1538716" y="529135"/>
                  <a:pt x="1544908" y="525007"/>
                </a:cubicBezTo>
                <a:cubicBezTo>
                  <a:pt x="1584122" y="500756"/>
                  <a:pt x="1630044" y="500240"/>
                  <a:pt x="1672870" y="488373"/>
                </a:cubicBezTo>
                <a:cubicBezTo>
                  <a:pt x="1678546" y="486825"/>
                  <a:pt x="1681642" y="489921"/>
                  <a:pt x="1683706" y="495080"/>
                </a:cubicBezTo>
                <a:cubicBezTo>
                  <a:pt x="1697637" y="523975"/>
                  <a:pt x="1710537" y="553902"/>
                  <a:pt x="1721888" y="583828"/>
                </a:cubicBezTo>
                <a:cubicBezTo>
                  <a:pt x="1723952" y="590020"/>
                  <a:pt x="1722404" y="593632"/>
                  <a:pt x="1717244" y="596728"/>
                </a:cubicBezTo>
                <a:cubicBezTo>
                  <a:pt x="1689381" y="615303"/>
                  <a:pt x="1662035" y="634394"/>
                  <a:pt x="1633140" y="652453"/>
                </a:cubicBezTo>
                <a:cubicBezTo>
                  <a:pt x="1623852" y="658129"/>
                  <a:pt x="1612501" y="660709"/>
                  <a:pt x="1601665" y="663805"/>
                </a:cubicBezTo>
                <a:cubicBezTo>
                  <a:pt x="1594958" y="665869"/>
                  <a:pt x="1592894" y="668965"/>
                  <a:pt x="1594958" y="676188"/>
                </a:cubicBezTo>
                <a:cubicBezTo>
                  <a:pt x="1606309" y="715403"/>
                  <a:pt x="1615081" y="755133"/>
                  <a:pt x="1620241" y="795895"/>
                </a:cubicBezTo>
                <a:cubicBezTo>
                  <a:pt x="1621272" y="803119"/>
                  <a:pt x="1624368" y="805699"/>
                  <a:pt x="1631076" y="804667"/>
                </a:cubicBezTo>
                <a:cubicBezTo>
                  <a:pt x="1676482" y="797959"/>
                  <a:pt x="1719308" y="814470"/>
                  <a:pt x="1763682" y="819630"/>
                </a:cubicBezTo>
                <a:cubicBezTo>
                  <a:pt x="1769874" y="820146"/>
                  <a:pt x="1772454" y="823758"/>
                  <a:pt x="1773486" y="829950"/>
                </a:cubicBezTo>
                <a:cubicBezTo>
                  <a:pt x="1776582" y="862456"/>
                  <a:pt x="1775034" y="895479"/>
                  <a:pt x="1775034" y="927985"/>
                </a:cubicBezTo>
                <a:cubicBezTo>
                  <a:pt x="1775034" y="933661"/>
                  <a:pt x="1771422" y="936241"/>
                  <a:pt x="1766262" y="937273"/>
                </a:cubicBezTo>
                <a:cubicBezTo>
                  <a:pt x="1732207" y="943981"/>
                  <a:pt x="1698153" y="951204"/>
                  <a:pt x="1663583" y="957396"/>
                </a:cubicBezTo>
                <a:cubicBezTo>
                  <a:pt x="1654811" y="958944"/>
                  <a:pt x="1645523" y="956364"/>
                  <a:pt x="1636752" y="955332"/>
                </a:cubicBezTo>
                <a:cubicBezTo>
                  <a:pt x="1627980" y="954300"/>
                  <a:pt x="1623336" y="956364"/>
                  <a:pt x="1622304" y="966684"/>
                </a:cubicBezTo>
                <a:cubicBezTo>
                  <a:pt x="1618177" y="1005382"/>
                  <a:pt x="1610953" y="1044080"/>
                  <a:pt x="1601149" y="1081746"/>
                </a:cubicBezTo>
                <a:cubicBezTo>
                  <a:pt x="1598569" y="1091034"/>
                  <a:pt x="1601665" y="1095678"/>
                  <a:pt x="1610437" y="1097742"/>
                </a:cubicBezTo>
                <a:cubicBezTo>
                  <a:pt x="1654811" y="1108577"/>
                  <a:pt x="1687318" y="1140568"/>
                  <a:pt x="1726016" y="1161723"/>
                </a:cubicBezTo>
                <a:cubicBezTo>
                  <a:pt x="1731176" y="1164819"/>
                  <a:pt x="1731176" y="1168947"/>
                  <a:pt x="1729112" y="1174107"/>
                </a:cubicBezTo>
                <a:cubicBezTo>
                  <a:pt x="1718792" y="1204549"/>
                  <a:pt x="1706409" y="1234476"/>
                  <a:pt x="1693509" y="1263887"/>
                </a:cubicBezTo>
                <a:cubicBezTo>
                  <a:pt x="1690929" y="1269562"/>
                  <a:pt x="1687318" y="1271626"/>
                  <a:pt x="1681126" y="1270078"/>
                </a:cubicBezTo>
                <a:cubicBezTo>
                  <a:pt x="1648103" y="1263371"/>
                  <a:pt x="1614565" y="1257179"/>
                  <a:pt x="1581542" y="1249955"/>
                </a:cubicBezTo>
                <a:cubicBezTo>
                  <a:pt x="1571223" y="1247375"/>
                  <a:pt x="1561935" y="1241184"/>
                  <a:pt x="1552647" y="1236024"/>
                </a:cubicBezTo>
                <a:cubicBezTo>
                  <a:pt x="1545940" y="1232412"/>
                  <a:pt x="1542328" y="1232928"/>
                  <a:pt x="1538200" y="1240152"/>
                </a:cubicBezTo>
                <a:cubicBezTo>
                  <a:pt x="1519109" y="1275238"/>
                  <a:pt x="1497954" y="1309293"/>
                  <a:pt x="1473187" y="1340767"/>
                </a:cubicBezTo>
                <a:cubicBezTo>
                  <a:pt x="1467511" y="1347991"/>
                  <a:pt x="1466479" y="1352635"/>
                  <a:pt x="1475251" y="1358310"/>
                </a:cubicBezTo>
                <a:cubicBezTo>
                  <a:pt x="1502598" y="1375854"/>
                  <a:pt x="1516013" y="1405264"/>
                  <a:pt x="1535104" y="1430031"/>
                </a:cubicBezTo>
                <a:cubicBezTo>
                  <a:pt x="1538716" y="1434675"/>
                  <a:pt x="1541812" y="1439835"/>
                  <a:pt x="1545424" y="1444995"/>
                </a:cubicBezTo>
                <a:cubicBezTo>
                  <a:pt x="1566063" y="1474921"/>
                  <a:pt x="1565031" y="1464602"/>
                  <a:pt x="1542844" y="1489885"/>
                </a:cubicBezTo>
                <a:cubicBezTo>
                  <a:pt x="1526849" y="1508460"/>
                  <a:pt x="1508273" y="1524971"/>
                  <a:pt x="1491246" y="1542514"/>
                </a:cubicBezTo>
                <a:cubicBezTo>
                  <a:pt x="1485054" y="1549222"/>
                  <a:pt x="1479895" y="1549222"/>
                  <a:pt x="1472155" y="1544062"/>
                </a:cubicBezTo>
                <a:cubicBezTo>
                  <a:pt x="1446356" y="1526519"/>
                  <a:pt x="1420041" y="1508976"/>
                  <a:pt x="1393726" y="1491948"/>
                </a:cubicBezTo>
                <a:cubicBezTo>
                  <a:pt x="1383923" y="1485241"/>
                  <a:pt x="1377215" y="1475437"/>
                  <a:pt x="1369992" y="1466666"/>
                </a:cubicBezTo>
                <a:cubicBezTo>
                  <a:pt x="1364316" y="1459958"/>
                  <a:pt x="1359672" y="1458926"/>
                  <a:pt x="1352964" y="1464602"/>
                </a:cubicBezTo>
                <a:cubicBezTo>
                  <a:pt x="1322005" y="1489885"/>
                  <a:pt x="1288983" y="1512588"/>
                  <a:pt x="1254413" y="1532711"/>
                </a:cubicBezTo>
                <a:cubicBezTo>
                  <a:pt x="1249769" y="1535291"/>
                  <a:pt x="1244609" y="1537871"/>
                  <a:pt x="1248737" y="1544578"/>
                </a:cubicBezTo>
                <a:cubicBezTo>
                  <a:pt x="1272472" y="1580181"/>
                  <a:pt x="1274020" y="1622491"/>
                  <a:pt x="1284339" y="1662221"/>
                </a:cubicBezTo>
                <a:cubicBezTo>
                  <a:pt x="1290531" y="1685440"/>
                  <a:pt x="1292079" y="1682344"/>
                  <a:pt x="1268860" y="1693180"/>
                </a:cubicBezTo>
                <a:cubicBezTo>
                  <a:pt x="1244609" y="1704531"/>
                  <a:pt x="1219842" y="1714335"/>
                  <a:pt x="1195591" y="1724654"/>
                </a:cubicBezTo>
                <a:cubicBezTo>
                  <a:pt x="1187851" y="1727750"/>
                  <a:pt x="1183208" y="1726718"/>
                  <a:pt x="1178564" y="1719495"/>
                </a:cubicBezTo>
                <a:cubicBezTo>
                  <a:pt x="1161021" y="1692664"/>
                  <a:pt x="1142962" y="1666865"/>
                  <a:pt x="1125418" y="1640034"/>
                </a:cubicBezTo>
                <a:cubicBezTo>
                  <a:pt x="1118711" y="1629715"/>
                  <a:pt x="1116131" y="1617847"/>
                  <a:pt x="1113035" y="1606496"/>
                </a:cubicBezTo>
                <a:cubicBezTo>
                  <a:pt x="1110971" y="1599272"/>
                  <a:pt x="1107359" y="1597208"/>
                  <a:pt x="1099619" y="1599272"/>
                </a:cubicBezTo>
                <a:cubicBezTo>
                  <a:pt x="1060405" y="1611139"/>
                  <a:pt x="1020675" y="1619395"/>
                  <a:pt x="979913" y="1624555"/>
                </a:cubicBezTo>
                <a:cubicBezTo>
                  <a:pt x="973205" y="1625587"/>
                  <a:pt x="971141" y="1628682"/>
                  <a:pt x="972173" y="1634874"/>
                </a:cubicBezTo>
                <a:cubicBezTo>
                  <a:pt x="979397" y="1680280"/>
                  <a:pt x="962885" y="1723106"/>
                  <a:pt x="957726" y="1767481"/>
                </a:cubicBezTo>
                <a:cubicBezTo>
                  <a:pt x="956694" y="1775220"/>
                  <a:pt x="952566" y="1777800"/>
                  <a:pt x="945858" y="1777800"/>
                </a:cubicBezTo>
                <a:cubicBezTo>
                  <a:pt x="929347" y="1778316"/>
                  <a:pt x="912320" y="1779348"/>
                  <a:pt x="895808" y="1779864"/>
                </a:cubicBezTo>
                <a:cubicBezTo>
                  <a:pt x="894776" y="1776252"/>
                  <a:pt x="894776" y="1776252"/>
                  <a:pt x="894776" y="1775736"/>
                </a:cubicBezTo>
                <a:close/>
                <a:moveTo>
                  <a:pt x="890648" y="1454798"/>
                </a:moveTo>
                <a:cubicBezTo>
                  <a:pt x="1199203" y="1449638"/>
                  <a:pt x="1454096" y="1207645"/>
                  <a:pt x="1452548" y="884127"/>
                </a:cubicBezTo>
                <a:cubicBezTo>
                  <a:pt x="1451516" y="575057"/>
                  <a:pt x="1205395" y="320164"/>
                  <a:pt x="881361" y="322228"/>
                </a:cubicBezTo>
                <a:cubicBezTo>
                  <a:pt x="571775" y="324292"/>
                  <a:pt x="318429" y="570929"/>
                  <a:pt x="320494" y="893415"/>
                </a:cubicBezTo>
                <a:cubicBezTo>
                  <a:pt x="323073" y="1202485"/>
                  <a:pt x="569195" y="1452218"/>
                  <a:pt x="890648" y="145479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Rectangle: Top Corners Rounded 31"/>
          <p:cNvSpPr/>
          <p:nvPr userDrawn="1"/>
        </p:nvSpPr>
        <p:spPr>
          <a:xfrm rot="10800000" flipH="1">
            <a:off x="292045" y="0"/>
            <a:ext cx="1618488" cy="2560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/>
          <p:cNvGrpSpPr/>
          <p:nvPr userDrawn="1"/>
        </p:nvGrpSpPr>
        <p:grpSpPr>
          <a:xfrm rot="20249292" flipH="1" flipV="1">
            <a:off x="2408466" y="3007856"/>
            <a:ext cx="405220" cy="1013819"/>
            <a:chOff x="4130248" y="650162"/>
            <a:chExt cx="502279" cy="1664988"/>
          </a:xfrm>
          <a:solidFill>
            <a:schemeClr val="accent2"/>
          </a:solidFill>
        </p:grpSpPr>
        <p:sp>
          <p:nvSpPr>
            <p:cNvPr id="34" name="Trapezoid 33"/>
            <p:cNvSpPr/>
            <p:nvPr/>
          </p:nvSpPr>
          <p:spPr>
            <a:xfrm>
              <a:off x="4130248" y="650162"/>
              <a:ext cx="502273" cy="1664988"/>
            </a:xfrm>
            <a:prstGeom prst="trapezoid">
              <a:avLst>
                <a:gd name="adj" fmla="val 9168"/>
              </a:avLst>
            </a:prstGeom>
            <a:grp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Trapezoid 94"/>
            <p:cNvSpPr/>
            <p:nvPr/>
          </p:nvSpPr>
          <p:spPr>
            <a:xfrm>
              <a:off x="4449648" y="650162"/>
              <a:ext cx="182879" cy="1664988"/>
            </a:xfrm>
            <a:custGeom>
              <a:avLst/>
              <a:gdLst>
                <a:gd name="connsiteX0" fmla="*/ 0 w 182880"/>
                <a:gd name="connsiteY0" fmla="*/ 1664988 h 1664988"/>
                <a:gd name="connsiteX1" fmla="*/ 0 w 182880"/>
                <a:gd name="connsiteY1" fmla="*/ 0 h 1664988"/>
                <a:gd name="connsiteX2" fmla="*/ 182880 w 182880"/>
                <a:gd name="connsiteY2" fmla="*/ 0 h 1664988"/>
                <a:gd name="connsiteX3" fmla="*/ 182880 w 182880"/>
                <a:gd name="connsiteY3" fmla="*/ 1664988 h 1664988"/>
                <a:gd name="connsiteX4" fmla="*/ 0 w 182880"/>
                <a:gd name="connsiteY4" fmla="*/ 1664988 h 1664988"/>
                <a:gd name="connsiteX0-1" fmla="*/ 0 w 182880"/>
                <a:gd name="connsiteY0-2" fmla="*/ 1664988 h 1664988"/>
                <a:gd name="connsiteX1-3" fmla="*/ 0 w 182880"/>
                <a:gd name="connsiteY1-4" fmla="*/ 0 h 1664988"/>
                <a:gd name="connsiteX2-5" fmla="*/ 130540 w 182880"/>
                <a:gd name="connsiteY2-6" fmla="*/ 3079 h 1664988"/>
                <a:gd name="connsiteX3-7" fmla="*/ 182880 w 182880"/>
                <a:gd name="connsiteY3-8" fmla="*/ 1664988 h 1664988"/>
                <a:gd name="connsiteX4-9" fmla="*/ 0 w 182880"/>
                <a:gd name="connsiteY4-10" fmla="*/ 1664988 h 1664988"/>
                <a:gd name="connsiteX0-11" fmla="*/ 0 w 182880"/>
                <a:gd name="connsiteY0-12" fmla="*/ 1664988 h 1664988"/>
                <a:gd name="connsiteX1-13" fmla="*/ 0 w 182880"/>
                <a:gd name="connsiteY1-14" fmla="*/ 0 h 1664988"/>
                <a:gd name="connsiteX2-15" fmla="*/ 68965 w 182880"/>
                <a:gd name="connsiteY2-16" fmla="*/ 6157 h 1664988"/>
                <a:gd name="connsiteX3-17" fmla="*/ 182880 w 182880"/>
                <a:gd name="connsiteY3-18" fmla="*/ 1664988 h 1664988"/>
                <a:gd name="connsiteX4-19" fmla="*/ 0 w 182880"/>
                <a:gd name="connsiteY4-20" fmla="*/ 1664988 h 1664988"/>
                <a:gd name="connsiteX0-21" fmla="*/ 0 w 182880"/>
                <a:gd name="connsiteY0-22" fmla="*/ 1664988 h 1664988"/>
                <a:gd name="connsiteX1-23" fmla="*/ 0 w 182880"/>
                <a:gd name="connsiteY1-24" fmla="*/ 0 h 1664988"/>
                <a:gd name="connsiteX2-25" fmla="*/ 133619 w 182880"/>
                <a:gd name="connsiteY2-26" fmla="*/ 3079 h 1664988"/>
                <a:gd name="connsiteX3-27" fmla="*/ 182880 w 182880"/>
                <a:gd name="connsiteY3-28" fmla="*/ 1664988 h 1664988"/>
                <a:gd name="connsiteX4-29" fmla="*/ 0 w 182880"/>
                <a:gd name="connsiteY4-30" fmla="*/ 1664988 h 166498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82880" h="1664988">
                  <a:moveTo>
                    <a:pt x="0" y="1664988"/>
                  </a:moveTo>
                  <a:lnTo>
                    <a:pt x="0" y="0"/>
                  </a:lnTo>
                  <a:lnTo>
                    <a:pt x="133619" y="3079"/>
                  </a:lnTo>
                  <a:lnTo>
                    <a:pt x="182880" y="1664988"/>
                  </a:lnTo>
                  <a:lnTo>
                    <a:pt x="0" y="166498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/>
          <p:cNvGrpSpPr/>
          <p:nvPr userDrawn="1"/>
        </p:nvGrpSpPr>
        <p:grpSpPr>
          <a:xfrm rot="15704020" flipH="1" flipV="1">
            <a:off x="2663420" y="3873638"/>
            <a:ext cx="340169" cy="340171"/>
            <a:chOff x="5108323" y="1463792"/>
            <a:chExt cx="374636" cy="374638"/>
          </a:xfrm>
        </p:grpSpPr>
        <p:sp>
          <p:nvSpPr>
            <p:cNvPr id="37" name="Oval 36"/>
            <p:cNvSpPr/>
            <p:nvPr/>
          </p:nvSpPr>
          <p:spPr>
            <a:xfrm>
              <a:off x="5108323" y="1463792"/>
              <a:ext cx="374636" cy="374638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5167785" y="1523587"/>
              <a:ext cx="255882" cy="255676"/>
            </a:xfrm>
            <a:custGeom>
              <a:avLst/>
              <a:gdLst>
                <a:gd name="connsiteX0" fmla="*/ 127864 w 255882"/>
                <a:gd name="connsiteY0" fmla="*/ 81461 h 255676"/>
                <a:gd name="connsiteX1" fmla="*/ 81805 w 255882"/>
                <a:gd name="connsiteY1" fmla="*/ 127520 h 255676"/>
                <a:gd name="connsiteX2" fmla="*/ 127864 w 255882"/>
                <a:gd name="connsiteY2" fmla="*/ 173579 h 255676"/>
                <a:gd name="connsiteX3" fmla="*/ 173923 w 255882"/>
                <a:gd name="connsiteY3" fmla="*/ 127520 h 255676"/>
                <a:gd name="connsiteX4" fmla="*/ 127864 w 255882"/>
                <a:gd name="connsiteY4" fmla="*/ 81461 h 255676"/>
                <a:gd name="connsiteX5" fmla="*/ 122296 w 255882"/>
                <a:gd name="connsiteY5" fmla="*/ 86 h 255676"/>
                <a:gd name="connsiteX6" fmla="*/ 127383 w 255882"/>
                <a:gd name="connsiteY6" fmla="*/ 4211 h 255676"/>
                <a:gd name="connsiteX7" fmla="*/ 132401 w 255882"/>
                <a:gd name="connsiteY7" fmla="*/ 21809 h 255676"/>
                <a:gd name="connsiteX8" fmla="*/ 145188 w 255882"/>
                <a:gd name="connsiteY8" fmla="*/ 29027 h 255676"/>
                <a:gd name="connsiteX9" fmla="*/ 149312 w 255882"/>
                <a:gd name="connsiteY9" fmla="*/ 25452 h 255676"/>
                <a:gd name="connsiteX10" fmla="*/ 158937 w 255882"/>
                <a:gd name="connsiteY10" fmla="*/ 9160 h 255676"/>
                <a:gd name="connsiteX11" fmla="*/ 166705 w 255882"/>
                <a:gd name="connsiteY11" fmla="*/ 5929 h 255676"/>
                <a:gd name="connsiteX12" fmla="*/ 174404 w 255882"/>
                <a:gd name="connsiteY12" fmla="*/ 18372 h 255676"/>
                <a:gd name="connsiteX13" fmla="*/ 172479 w 255882"/>
                <a:gd name="connsiteY13" fmla="*/ 34046 h 255676"/>
                <a:gd name="connsiteX14" fmla="*/ 172479 w 255882"/>
                <a:gd name="connsiteY14" fmla="*/ 35695 h 255676"/>
                <a:gd name="connsiteX15" fmla="*/ 186434 w 255882"/>
                <a:gd name="connsiteY15" fmla="*/ 41882 h 255676"/>
                <a:gd name="connsiteX16" fmla="*/ 201764 w 255882"/>
                <a:gd name="connsiteY16" fmla="*/ 30402 h 255676"/>
                <a:gd name="connsiteX17" fmla="*/ 211045 w 255882"/>
                <a:gd name="connsiteY17" fmla="*/ 30540 h 255676"/>
                <a:gd name="connsiteX18" fmla="*/ 212488 w 255882"/>
                <a:gd name="connsiteY18" fmla="*/ 31777 h 255676"/>
                <a:gd name="connsiteX19" fmla="*/ 214069 w 255882"/>
                <a:gd name="connsiteY19" fmla="*/ 42364 h 255676"/>
                <a:gd name="connsiteX20" fmla="*/ 205614 w 255882"/>
                <a:gd name="connsiteY20" fmla="*/ 57418 h 255676"/>
                <a:gd name="connsiteX21" fmla="*/ 206783 w 255882"/>
                <a:gd name="connsiteY21" fmla="*/ 67180 h 255676"/>
                <a:gd name="connsiteX22" fmla="*/ 215719 w 255882"/>
                <a:gd name="connsiteY22" fmla="*/ 70755 h 255676"/>
                <a:gd name="connsiteX23" fmla="*/ 233799 w 255882"/>
                <a:gd name="connsiteY23" fmla="*/ 66011 h 255676"/>
                <a:gd name="connsiteX24" fmla="*/ 241498 w 255882"/>
                <a:gd name="connsiteY24" fmla="*/ 68967 h 255676"/>
                <a:gd name="connsiteX25" fmla="*/ 243836 w 255882"/>
                <a:gd name="connsiteY25" fmla="*/ 73573 h 255676"/>
                <a:gd name="connsiteX26" fmla="*/ 241911 w 255882"/>
                <a:gd name="connsiteY26" fmla="*/ 80379 h 255676"/>
                <a:gd name="connsiteX27" fmla="*/ 226443 w 255882"/>
                <a:gd name="connsiteY27" fmla="*/ 92684 h 255676"/>
                <a:gd name="connsiteX28" fmla="*/ 223694 w 255882"/>
                <a:gd name="connsiteY28" fmla="*/ 100177 h 255676"/>
                <a:gd name="connsiteX29" fmla="*/ 224519 w 255882"/>
                <a:gd name="connsiteY29" fmla="*/ 103202 h 255676"/>
                <a:gd name="connsiteX30" fmla="*/ 230843 w 255882"/>
                <a:gd name="connsiteY30" fmla="*/ 108633 h 255676"/>
                <a:gd name="connsiteX31" fmla="*/ 249541 w 255882"/>
                <a:gd name="connsiteY31" fmla="*/ 111176 h 255676"/>
                <a:gd name="connsiteX32" fmla="*/ 255591 w 255882"/>
                <a:gd name="connsiteY32" fmla="*/ 117157 h 255676"/>
                <a:gd name="connsiteX33" fmla="*/ 255797 w 255882"/>
                <a:gd name="connsiteY33" fmla="*/ 122519 h 255676"/>
                <a:gd name="connsiteX34" fmla="*/ 251398 w 255882"/>
                <a:gd name="connsiteY34" fmla="*/ 127675 h 255676"/>
                <a:gd name="connsiteX35" fmla="*/ 233799 w 255882"/>
                <a:gd name="connsiteY35" fmla="*/ 132693 h 255676"/>
                <a:gd name="connsiteX36" fmla="*/ 226650 w 255882"/>
                <a:gd name="connsiteY36" fmla="*/ 144586 h 255676"/>
                <a:gd name="connsiteX37" fmla="*/ 230293 w 255882"/>
                <a:gd name="connsiteY37" fmla="*/ 149398 h 255676"/>
                <a:gd name="connsiteX38" fmla="*/ 246448 w 255882"/>
                <a:gd name="connsiteY38" fmla="*/ 158884 h 255676"/>
                <a:gd name="connsiteX39" fmla="*/ 249954 w 255882"/>
                <a:gd name="connsiteY39" fmla="*/ 167065 h 255676"/>
                <a:gd name="connsiteX40" fmla="*/ 249816 w 255882"/>
                <a:gd name="connsiteY40" fmla="*/ 167890 h 255676"/>
                <a:gd name="connsiteX41" fmla="*/ 240123 w 255882"/>
                <a:gd name="connsiteY41" fmla="*/ 174833 h 255676"/>
                <a:gd name="connsiteX42" fmla="*/ 223212 w 255882"/>
                <a:gd name="connsiteY42" fmla="*/ 172702 h 255676"/>
                <a:gd name="connsiteX43" fmla="*/ 214688 w 255882"/>
                <a:gd name="connsiteY43" fmla="*/ 177102 h 255676"/>
                <a:gd name="connsiteX44" fmla="*/ 214551 w 255882"/>
                <a:gd name="connsiteY44" fmla="*/ 187276 h 255676"/>
                <a:gd name="connsiteX45" fmla="*/ 225481 w 255882"/>
                <a:gd name="connsiteY45" fmla="*/ 201712 h 255676"/>
                <a:gd name="connsiteX46" fmla="*/ 225481 w 255882"/>
                <a:gd name="connsiteY46" fmla="*/ 211130 h 255676"/>
                <a:gd name="connsiteX47" fmla="*/ 225068 w 255882"/>
                <a:gd name="connsiteY47" fmla="*/ 211611 h 255676"/>
                <a:gd name="connsiteX48" fmla="*/ 213245 w 255882"/>
                <a:gd name="connsiteY48" fmla="*/ 213948 h 255676"/>
                <a:gd name="connsiteX49" fmla="*/ 198602 w 255882"/>
                <a:gd name="connsiteY49" fmla="*/ 205699 h 255676"/>
                <a:gd name="connsiteX50" fmla="*/ 188565 w 255882"/>
                <a:gd name="connsiteY50" fmla="*/ 207143 h 255676"/>
                <a:gd name="connsiteX51" fmla="*/ 185334 w 255882"/>
                <a:gd name="connsiteY51" fmla="*/ 216217 h 255676"/>
                <a:gd name="connsiteX52" fmla="*/ 190078 w 255882"/>
                <a:gd name="connsiteY52" fmla="*/ 234503 h 255676"/>
                <a:gd name="connsiteX53" fmla="*/ 187397 w 255882"/>
                <a:gd name="connsiteY53" fmla="*/ 241377 h 255676"/>
                <a:gd name="connsiteX54" fmla="*/ 182585 w 255882"/>
                <a:gd name="connsiteY54" fmla="*/ 243852 h 255676"/>
                <a:gd name="connsiteX55" fmla="*/ 175366 w 255882"/>
                <a:gd name="connsiteY55" fmla="*/ 241859 h 255676"/>
                <a:gd name="connsiteX56" fmla="*/ 164024 w 255882"/>
                <a:gd name="connsiteY56" fmla="*/ 227491 h 255676"/>
                <a:gd name="connsiteX57" fmla="*/ 149381 w 255882"/>
                <a:gd name="connsiteY57" fmla="*/ 226254 h 255676"/>
                <a:gd name="connsiteX58" fmla="*/ 147456 w 255882"/>
                <a:gd name="connsiteY58" fmla="*/ 230103 h 255676"/>
                <a:gd name="connsiteX59" fmla="*/ 144844 w 255882"/>
                <a:gd name="connsiteY59" fmla="*/ 249008 h 255676"/>
                <a:gd name="connsiteX60" fmla="*/ 139895 w 255882"/>
                <a:gd name="connsiteY60" fmla="*/ 255676 h 255676"/>
                <a:gd name="connsiteX61" fmla="*/ 131577 w 255882"/>
                <a:gd name="connsiteY61" fmla="*/ 255676 h 255676"/>
                <a:gd name="connsiteX62" fmla="*/ 127933 w 255882"/>
                <a:gd name="connsiteY62" fmla="*/ 250589 h 255676"/>
                <a:gd name="connsiteX63" fmla="*/ 122777 w 255882"/>
                <a:gd name="connsiteY63" fmla="*/ 232372 h 255676"/>
                <a:gd name="connsiteX64" fmla="*/ 116659 w 255882"/>
                <a:gd name="connsiteY64" fmla="*/ 227010 h 255676"/>
                <a:gd name="connsiteX65" fmla="*/ 112947 w 255882"/>
                <a:gd name="connsiteY65" fmla="*/ 226597 h 255676"/>
                <a:gd name="connsiteX66" fmla="*/ 106622 w 255882"/>
                <a:gd name="connsiteY66" fmla="*/ 230103 h 255676"/>
                <a:gd name="connsiteX67" fmla="*/ 105041 w 255882"/>
                <a:gd name="connsiteY67" fmla="*/ 232784 h 255676"/>
                <a:gd name="connsiteX68" fmla="*/ 96380 w 255882"/>
                <a:gd name="connsiteY68" fmla="*/ 247427 h 255676"/>
                <a:gd name="connsiteX69" fmla="*/ 89849 w 255882"/>
                <a:gd name="connsiteY69" fmla="*/ 250108 h 255676"/>
                <a:gd name="connsiteX70" fmla="*/ 84555 w 255882"/>
                <a:gd name="connsiteY70" fmla="*/ 248320 h 255676"/>
                <a:gd name="connsiteX71" fmla="*/ 80981 w 255882"/>
                <a:gd name="connsiteY71" fmla="*/ 241652 h 255676"/>
                <a:gd name="connsiteX72" fmla="*/ 83249 w 255882"/>
                <a:gd name="connsiteY72" fmla="*/ 222885 h 255676"/>
                <a:gd name="connsiteX73" fmla="*/ 78094 w 255882"/>
                <a:gd name="connsiteY73" fmla="*/ 214155 h 255676"/>
                <a:gd name="connsiteX74" fmla="*/ 68538 w 255882"/>
                <a:gd name="connsiteY74" fmla="*/ 214636 h 255676"/>
                <a:gd name="connsiteX75" fmla="*/ 55133 w 255882"/>
                <a:gd name="connsiteY75" fmla="*/ 224810 h 255676"/>
                <a:gd name="connsiteX76" fmla="*/ 43240 w 255882"/>
                <a:gd name="connsiteY76" fmla="*/ 224123 h 255676"/>
                <a:gd name="connsiteX77" fmla="*/ 42209 w 255882"/>
                <a:gd name="connsiteY77" fmla="*/ 223091 h 255676"/>
                <a:gd name="connsiteX78" fmla="*/ 41178 w 255882"/>
                <a:gd name="connsiteY78" fmla="*/ 214842 h 255676"/>
                <a:gd name="connsiteX79" fmla="*/ 50115 w 255882"/>
                <a:gd name="connsiteY79" fmla="*/ 198893 h 255676"/>
                <a:gd name="connsiteX80" fmla="*/ 51627 w 255882"/>
                <a:gd name="connsiteY80" fmla="*/ 194013 h 255676"/>
                <a:gd name="connsiteX81" fmla="*/ 39597 w 255882"/>
                <a:gd name="connsiteY81" fmla="*/ 185420 h 255676"/>
                <a:gd name="connsiteX82" fmla="*/ 21105 w 255882"/>
                <a:gd name="connsiteY82" fmla="*/ 190232 h 255676"/>
                <a:gd name="connsiteX83" fmla="*/ 15193 w 255882"/>
                <a:gd name="connsiteY83" fmla="*/ 188238 h 255676"/>
                <a:gd name="connsiteX84" fmla="*/ 12237 w 255882"/>
                <a:gd name="connsiteY84" fmla="*/ 183014 h 255676"/>
                <a:gd name="connsiteX85" fmla="*/ 14230 w 255882"/>
                <a:gd name="connsiteY85" fmla="*/ 175314 h 255676"/>
                <a:gd name="connsiteX86" fmla="*/ 27910 w 255882"/>
                <a:gd name="connsiteY86" fmla="*/ 164453 h 255676"/>
                <a:gd name="connsiteX87" fmla="*/ 31554 w 255882"/>
                <a:gd name="connsiteY87" fmla="*/ 153385 h 255676"/>
                <a:gd name="connsiteX88" fmla="*/ 24198 w 255882"/>
                <a:gd name="connsiteY88" fmla="*/ 147198 h 255676"/>
                <a:gd name="connsiteX89" fmla="*/ 6943 w 255882"/>
                <a:gd name="connsiteY89" fmla="*/ 144861 h 255676"/>
                <a:gd name="connsiteX90" fmla="*/ 138 w 255882"/>
                <a:gd name="connsiteY90" fmla="*/ 140049 h 255676"/>
                <a:gd name="connsiteX91" fmla="*/ 0 w 255882"/>
                <a:gd name="connsiteY91" fmla="*/ 131525 h 255676"/>
                <a:gd name="connsiteX92" fmla="*/ 5019 w 255882"/>
                <a:gd name="connsiteY92" fmla="*/ 127881 h 255676"/>
                <a:gd name="connsiteX93" fmla="*/ 22617 w 255882"/>
                <a:gd name="connsiteY93" fmla="*/ 122931 h 255676"/>
                <a:gd name="connsiteX94" fmla="*/ 28667 w 255882"/>
                <a:gd name="connsiteY94" fmla="*/ 116194 h 255676"/>
                <a:gd name="connsiteX95" fmla="*/ 29010 w 255882"/>
                <a:gd name="connsiteY95" fmla="*/ 113307 h 255676"/>
                <a:gd name="connsiteX96" fmla="*/ 25229 w 255882"/>
                <a:gd name="connsiteY96" fmla="*/ 106295 h 255676"/>
                <a:gd name="connsiteX97" fmla="*/ 9281 w 255882"/>
                <a:gd name="connsiteY97" fmla="*/ 96946 h 255676"/>
                <a:gd name="connsiteX98" fmla="*/ 5843 w 255882"/>
                <a:gd name="connsiteY98" fmla="*/ 88560 h 255676"/>
                <a:gd name="connsiteX99" fmla="*/ 6187 w 255882"/>
                <a:gd name="connsiteY99" fmla="*/ 87391 h 255676"/>
                <a:gd name="connsiteX100" fmla="*/ 15261 w 255882"/>
                <a:gd name="connsiteY100" fmla="*/ 81135 h 255676"/>
                <a:gd name="connsiteX101" fmla="*/ 32173 w 255882"/>
                <a:gd name="connsiteY101" fmla="*/ 83060 h 255676"/>
                <a:gd name="connsiteX102" fmla="*/ 40834 w 255882"/>
                <a:gd name="connsiteY102" fmla="*/ 79073 h 255676"/>
                <a:gd name="connsiteX103" fmla="*/ 40147 w 255882"/>
                <a:gd name="connsiteY103" fmla="*/ 67318 h 255676"/>
                <a:gd name="connsiteX104" fmla="*/ 29629 w 255882"/>
                <a:gd name="connsiteY104" fmla="*/ 53363 h 255676"/>
                <a:gd name="connsiteX105" fmla="*/ 29629 w 255882"/>
                <a:gd name="connsiteY105" fmla="*/ 45595 h 255676"/>
                <a:gd name="connsiteX106" fmla="*/ 33066 w 255882"/>
                <a:gd name="connsiteY106" fmla="*/ 41745 h 255676"/>
                <a:gd name="connsiteX107" fmla="*/ 40422 w 255882"/>
                <a:gd name="connsiteY107" fmla="*/ 40920 h 255676"/>
                <a:gd name="connsiteX108" fmla="*/ 56027 w 255882"/>
                <a:gd name="connsiteY108" fmla="*/ 49719 h 255676"/>
                <a:gd name="connsiteX109" fmla="*/ 69982 w 255882"/>
                <a:gd name="connsiteY109" fmla="*/ 45801 h 255676"/>
                <a:gd name="connsiteX110" fmla="*/ 70325 w 255882"/>
                <a:gd name="connsiteY110" fmla="*/ 39751 h 255676"/>
                <a:gd name="connsiteX111" fmla="*/ 65788 w 255882"/>
                <a:gd name="connsiteY111" fmla="*/ 22221 h 255676"/>
                <a:gd name="connsiteX112" fmla="*/ 69088 w 255882"/>
                <a:gd name="connsiteY112" fmla="*/ 14110 h 255676"/>
                <a:gd name="connsiteX113" fmla="*/ 71632 w 255882"/>
                <a:gd name="connsiteY113" fmla="*/ 12735 h 255676"/>
                <a:gd name="connsiteX114" fmla="*/ 81118 w 255882"/>
                <a:gd name="connsiteY114" fmla="*/ 15072 h 255676"/>
                <a:gd name="connsiteX115" fmla="*/ 92049 w 255882"/>
                <a:gd name="connsiteY115" fmla="*/ 28958 h 255676"/>
                <a:gd name="connsiteX116" fmla="*/ 106966 w 255882"/>
                <a:gd name="connsiteY116" fmla="*/ 28890 h 255676"/>
                <a:gd name="connsiteX117" fmla="*/ 108754 w 255882"/>
                <a:gd name="connsiteY117" fmla="*/ 22565 h 255676"/>
                <a:gd name="connsiteX118" fmla="*/ 110953 w 255882"/>
                <a:gd name="connsiteY118" fmla="*/ 6479 h 255676"/>
                <a:gd name="connsiteX119" fmla="*/ 116934 w 255882"/>
                <a:gd name="connsiteY119" fmla="*/ 292 h 255676"/>
                <a:gd name="connsiteX120" fmla="*/ 122296 w 255882"/>
                <a:gd name="connsiteY120" fmla="*/ 86 h 25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55882" h="255676">
                  <a:moveTo>
                    <a:pt x="127864" y="81461"/>
                  </a:moveTo>
                  <a:cubicBezTo>
                    <a:pt x="102426" y="81461"/>
                    <a:pt x="81805" y="102082"/>
                    <a:pt x="81805" y="127520"/>
                  </a:cubicBezTo>
                  <a:cubicBezTo>
                    <a:pt x="81805" y="152958"/>
                    <a:pt x="102426" y="173579"/>
                    <a:pt x="127864" y="173579"/>
                  </a:cubicBezTo>
                  <a:cubicBezTo>
                    <a:pt x="153302" y="173579"/>
                    <a:pt x="173923" y="152958"/>
                    <a:pt x="173923" y="127520"/>
                  </a:cubicBezTo>
                  <a:cubicBezTo>
                    <a:pt x="173923" y="102082"/>
                    <a:pt x="153302" y="81461"/>
                    <a:pt x="127864" y="81461"/>
                  </a:cubicBezTo>
                  <a:close/>
                  <a:moveTo>
                    <a:pt x="122296" y="86"/>
                  </a:moveTo>
                  <a:cubicBezTo>
                    <a:pt x="124908" y="223"/>
                    <a:pt x="126696" y="1598"/>
                    <a:pt x="127383" y="4211"/>
                  </a:cubicBezTo>
                  <a:cubicBezTo>
                    <a:pt x="129033" y="10054"/>
                    <a:pt x="130752" y="15966"/>
                    <a:pt x="132401" y="21809"/>
                  </a:cubicBezTo>
                  <a:cubicBezTo>
                    <a:pt x="134120" y="27790"/>
                    <a:pt x="139070" y="30608"/>
                    <a:pt x="145188" y="29027"/>
                  </a:cubicBezTo>
                  <a:cubicBezTo>
                    <a:pt x="147181" y="28546"/>
                    <a:pt x="148350" y="27102"/>
                    <a:pt x="149312" y="25452"/>
                  </a:cubicBezTo>
                  <a:cubicBezTo>
                    <a:pt x="152475" y="20022"/>
                    <a:pt x="155706" y="14591"/>
                    <a:pt x="158937" y="9160"/>
                  </a:cubicBezTo>
                  <a:cubicBezTo>
                    <a:pt x="160999" y="5654"/>
                    <a:pt x="162786" y="4898"/>
                    <a:pt x="166705" y="5929"/>
                  </a:cubicBezTo>
                  <a:cubicBezTo>
                    <a:pt x="174542" y="7923"/>
                    <a:pt x="175573" y="9641"/>
                    <a:pt x="174404" y="18372"/>
                  </a:cubicBezTo>
                  <a:cubicBezTo>
                    <a:pt x="173717" y="23596"/>
                    <a:pt x="173098" y="28821"/>
                    <a:pt x="172479" y="34046"/>
                  </a:cubicBezTo>
                  <a:cubicBezTo>
                    <a:pt x="172410" y="34595"/>
                    <a:pt x="172410" y="35145"/>
                    <a:pt x="172479" y="35695"/>
                  </a:cubicBezTo>
                  <a:cubicBezTo>
                    <a:pt x="173373" y="41264"/>
                    <a:pt x="181828" y="45113"/>
                    <a:pt x="186434" y="41882"/>
                  </a:cubicBezTo>
                  <a:cubicBezTo>
                    <a:pt x="191659" y="38170"/>
                    <a:pt x="196677" y="34252"/>
                    <a:pt x="201764" y="30402"/>
                  </a:cubicBezTo>
                  <a:cubicBezTo>
                    <a:pt x="205476" y="27584"/>
                    <a:pt x="207333" y="27652"/>
                    <a:pt x="211045" y="30540"/>
                  </a:cubicBezTo>
                  <a:cubicBezTo>
                    <a:pt x="211526" y="30952"/>
                    <a:pt x="212007" y="31296"/>
                    <a:pt x="212488" y="31777"/>
                  </a:cubicBezTo>
                  <a:cubicBezTo>
                    <a:pt x="216819" y="35902"/>
                    <a:pt x="217025" y="37139"/>
                    <a:pt x="214069" y="42364"/>
                  </a:cubicBezTo>
                  <a:cubicBezTo>
                    <a:pt x="211251" y="47382"/>
                    <a:pt x="208570" y="52469"/>
                    <a:pt x="205614" y="57418"/>
                  </a:cubicBezTo>
                  <a:cubicBezTo>
                    <a:pt x="203483" y="61062"/>
                    <a:pt x="204445" y="64087"/>
                    <a:pt x="206783" y="67180"/>
                  </a:cubicBezTo>
                  <a:cubicBezTo>
                    <a:pt x="209120" y="70274"/>
                    <a:pt x="211801" y="71786"/>
                    <a:pt x="215719" y="70755"/>
                  </a:cubicBezTo>
                  <a:cubicBezTo>
                    <a:pt x="221769" y="69174"/>
                    <a:pt x="227818" y="67661"/>
                    <a:pt x="233799" y="66011"/>
                  </a:cubicBezTo>
                  <a:cubicBezTo>
                    <a:pt x="237649" y="64980"/>
                    <a:pt x="239367" y="65599"/>
                    <a:pt x="241498" y="68967"/>
                  </a:cubicBezTo>
                  <a:cubicBezTo>
                    <a:pt x="242461" y="70411"/>
                    <a:pt x="243286" y="71923"/>
                    <a:pt x="243836" y="73573"/>
                  </a:cubicBezTo>
                  <a:cubicBezTo>
                    <a:pt x="244867" y="76529"/>
                    <a:pt x="244385" y="78385"/>
                    <a:pt x="241911" y="80379"/>
                  </a:cubicBezTo>
                  <a:cubicBezTo>
                    <a:pt x="236755" y="84504"/>
                    <a:pt x="231668" y="88628"/>
                    <a:pt x="226443" y="92684"/>
                  </a:cubicBezTo>
                  <a:cubicBezTo>
                    <a:pt x="223831" y="94678"/>
                    <a:pt x="223144" y="97152"/>
                    <a:pt x="223694" y="100177"/>
                  </a:cubicBezTo>
                  <a:cubicBezTo>
                    <a:pt x="223900" y="101208"/>
                    <a:pt x="224244" y="102171"/>
                    <a:pt x="224519" y="103202"/>
                  </a:cubicBezTo>
                  <a:cubicBezTo>
                    <a:pt x="225412" y="106433"/>
                    <a:pt x="227543" y="108220"/>
                    <a:pt x="230843" y="108633"/>
                  </a:cubicBezTo>
                  <a:cubicBezTo>
                    <a:pt x="237099" y="109458"/>
                    <a:pt x="243354" y="110351"/>
                    <a:pt x="249541" y="111176"/>
                  </a:cubicBezTo>
                  <a:cubicBezTo>
                    <a:pt x="253254" y="111657"/>
                    <a:pt x="255178" y="113445"/>
                    <a:pt x="255591" y="117157"/>
                  </a:cubicBezTo>
                  <a:cubicBezTo>
                    <a:pt x="255797" y="118944"/>
                    <a:pt x="256003" y="120732"/>
                    <a:pt x="255797" y="122519"/>
                  </a:cubicBezTo>
                  <a:cubicBezTo>
                    <a:pt x="255453" y="125337"/>
                    <a:pt x="254010" y="126919"/>
                    <a:pt x="251398" y="127675"/>
                  </a:cubicBezTo>
                  <a:cubicBezTo>
                    <a:pt x="245554" y="129325"/>
                    <a:pt x="239642" y="130974"/>
                    <a:pt x="233799" y="132693"/>
                  </a:cubicBezTo>
                  <a:cubicBezTo>
                    <a:pt x="228093" y="134343"/>
                    <a:pt x="225481" y="138674"/>
                    <a:pt x="226650" y="144586"/>
                  </a:cubicBezTo>
                  <a:cubicBezTo>
                    <a:pt x="227062" y="146854"/>
                    <a:pt x="228368" y="148298"/>
                    <a:pt x="230293" y="149398"/>
                  </a:cubicBezTo>
                  <a:cubicBezTo>
                    <a:pt x="235655" y="152560"/>
                    <a:pt x="241017" y="155722"/>
                    <a:pt x="246448" y="158884"/>
                  </a:cubicBezTo>
                  <a:cubicBezTo>
                    <a:pt x="250435" y="161222"/>
                    <a:pt x="251054" y="162597"/>
                    <a:pt x="249954" y="167065"/>
                  </a:cubicBezTo>
                  <a:cubicBezTo>
                    <a:pt x="249885" y="167340"/>
                    <a:pt x="249885" y="167615"/>
                    <a:pt x="249816" y="167890"/>
                  </a:cubicBezTo>
                  <a:cubicBezTo>
                    <a:pt x="248166" y="173321"/>
                    <a:pt x="246310" y="176002"/>
                    <a:pt x="240123" y="174833"/>
                  </a:cubicBezTo>
                  <a:cubicBezTo>
                    <a:pt x="234555" y="173733"/>
                    <a:pt x="228849" y="173527"/>
                    <a:pt x="223212" y="172702"/>
                  </a:cubicBezTo>
                  <a:cubicBezTo>
                    <a:pt x="219225" y="172152"/>
                    <a:pt x="216613" y="173733"/>
                    <a:pt x="214688" y="177102"/>
                  </a:cubicBezTo>
                  <a:cubicBezTo>
                    <a:pt x="212695" y="180539"/>
                    <a:pt x="211801" y="183770"/>
                    <a:pt x="214551" y="187276"/>
                  </a:cubicBezTo>
                  <a:cubicBezTo>
                    <a:pt x="218263" y="192019"/>
                    <a:pt x="221838" y="196900"/>
                    <a:pt x="225481" y="201712"/>
                  </a:cubicBezTo>
                  <a:cubicBezTo>
                    <a:pt x="228506" y="205630"/>
                    <a:pt x="228506" y="207212"/>
                    <a:pt x="225481" y="211130"/>
                  </a:cubicBezTo>
                  <a:cubicBezTo>
                    <a:pt x="225343" y="211267"/>
                    <a:pt x="225206" y="211474"/>
                    <a:pt x="225068" y="211611"/>
                  </a:cubicBezTo>
                  <a:cubicBezTo>
                    <a:pt x="221081" y="215873"/>
                    <a:pt x="219500" y="217729"/>
                    <a:pt x="213245" y="213948"/>
                  </a:cubicBezTo>
                  <a:cubicBezTo>
                    <a:pt x="208432" y="211061"/>
                    <a:pt x="203345" y="208586"/>
                    <a:pt x="198602" y="205699"/>
                  </a:cubicBezTo>
                  <a:cubicBezTo>
                    <a:pt x="194684" y="203362"/>
                    <a:pt x="191659" y="204737"/>
                    <a:pt x="188565" y="207143"/>
                  </a:cubicBezTo>
                  <a:cubicBezTo>
                    <a:pt x="185472" y="209480"/>
                    <a:pt x="184234" y="212299"/>
                    <a:pt x="185334" y="216217"/>
                  </a:cubicBezTo>
                  <a:cubicBezTo>
                    <a:pt x="187053" y="222267"/>
                    <a:pt x="188565" y="228385"/>
                    <a:pt x="190078" y="234503"/>
                  </a:cubicBezTo>
                  <a:cubicBezTo>
                    <a:pt x="190903" y="237803"/>
                    <a:pt x="190215" y="239590"/>
                    <a:pt x="187397" y="241377"/>
                  </a:cubicBezTo>
                  <a:cubicBezTo>
                    <a:pt x="185884" y="242340"/>
                    <a:pt x="184303" y="243233"/>
                    <a:pt x="182585" y="243852"/>
                  </a:cubicBezTo>
                  <a:cubicBezTo>
                    <a:pt x="179560" y="244952"/>
                    <a:pt x="177360" y="244402"/>
                    <a:pt x="175366" y="241859"/>
                  </a:cubicBezTo>
                  <a:cubicBezTo>
                    <a:pt x="171585" y="237115"/>
                    <a:pt x="167805" y="232303"/>
                    <a:pt x="164024" y="227491"/>
                  </a:cubicBezTo>
                  <a:cubicBezTo>
                    <a:pt x="160380" y="222954"/>
                    <a:pt x="153781" y="222335"/>
                    <a:pt x="149381" y="226254"/>
                  </a:cubicBezTo>
                  <a:cubicBezTo>
                    <a:pt x="148213" y="227285"/>
                    <a:pt x="147663" y="228591"/>
                    <a:pt x="147456" y="230103"/>
                  </a:cubicBezTo>
                  <a:cubicBezTo>
                    <a:pt x="146563" y="236428"/>
                    <a:pt x="145532" y="242683"/>
                    <a:pt x="144844" y="249008"/>
                  </a:cubicBezTo>
                  <a:cubicBezTo>
                    <a:pt x="144432" y="252308"/>
                    <a:pt x="143126" y="254645"/>
                    <a:pt x="139895" y="255676"/>
                  </a:cubicBezTo>
                  <a:cubicBezTo>
                    <a:pt x="137145" y="255676"/>
                    <a:pt x="134326" y="255676"/>
                    <a:pt x="131577" y="255676"/>
                  </a:cubicBezTo>
                  <a:cubicBezTo>
                    <a:pt x="129652" y="254507"/>
                    <a:pt x="128552" y="252789"/>
                    <a:pt x="127933" y="250589"/>
                  </a:cubicBezTo>
                  <a:cubicBezTo>
                    <a:pt x="126283" y="244540"/>
                    <a:pt x="124427" y="238490"/>
                    <a:pt x="122777" y="232372"/>
                  </a:cubicBezTo>
                  <a:cubicBezTo>
                    <a:pt x="121884" y="229141"/>
                    <a:pt x="119890" y="227422"/>
                    <a:pt x="116659" y="227010"/>
                  </a:cubicBezTo>
                  <a:cubicBezTo>
                    <a:pt x="115422" y="226872"/>
                    <a:pt x="114184" y="226666"/>
                    <a:pt x="112947" y="226597"/>
                  </a:cubicBezTo>
                  <a:cubicBezTo>
                    <a:pt x="110060" y="226391"/>
                    <a:pt x="108066" y="227697"/>
                    <a:pt x="106622" y="230103"/>
                  </a:cubicBezTo>
                  <a:cubicBezTo>
                    <a:pt x="106072" y="230997"/>
                    <a:pt x="105591" y="231891"/>
                    <a:pt x="105041" y="232784"/>
                  </a:cubicBezTo>
                  <a:cubicBezTo>
                    <a:pt x="102154" y="237665"/>
                    <a:pt x="99335" y="242615"/>
                    <a:pt x="96380" y="247427"/>
                  </a:cubicBezTo>
                  <a:cubicBezTo>
                    <a:pt x="94798" y="250108"/>
                    <a:pt x="92873" y="250795"/>
                    <a:pt x="89849" y="250108"/>
                  </a:cubicBezTo>
                  <a:cubicBezTo>
                    <a:pt x="87993" y="249695"/>
                    <a:pt x="86274" y="249077"/>
                    <a:pt x="84555" y="248320"/>
                  </a:cubicBezTo>
                  <a:cubicBezTo>
                    <a:pt x="81531" y="246877"/>
                    <a:pt x="80568" y="245021"/>
                    <a:pt x="80981" y="241652"/>
                  </a:cubicBezTo>
                  <a:cubicBezTo>
                    <a:pt x="81737" y="235397"/>
                    <a:pt x="82356" y="229141"/>
                    <a:pt x="83249" y="222885"/>
                  </a:cubicBezTo>
                  <a:cubicBezTo>
                    <a:pt x="83868" y="218486"/>
                    <a:pt x="81531" y="216080"/>
                    <a:pt x="78094" y="214155"/>
                  </a:cubicBezTo>
                  <a:cubicBezTo>
                    <a:pt x="74725" y="212299"/>
                    <a:pt x="71700" y="212024"/>
                    <a:pt x="68538" y="214636"/>
                  </a:cubicBezTo>
                  <a:cubicBezTo>
                    <a:pt x="64139" y="218142"/>
                    <a:pt x="59533" y="221373"/>
                    <a:pt x="55133" y="224810"/>
                  </a:cubicBezTo>
                  <a:cubicBezTo>
                    <a:pt x="50665" y="228316"/>
                    <a:pt x="48740" y="229072"/>
                    <a:pt x="43240" y="224123"/>
                  </a:cubicBezTo>
                  <a:cubicBezTo>
                    <a:pt x="42897" y="223779"/>
                    <a:pt x="42553" y="223435"/>
                    <a:pt x="42209" y="223091"/>
                  </a:cubicBezTo>
                  <a:cubicBezTo>
                    <a:pt x="39528" y="220342"/>
                    <a:pt x="39253" y="218211"/>
                    <a:pt x="41178" y="214842"/>
                  </a:cubicBezTo>
                  <a:cubicBezTo>
                    <a:pt x="44134" y="209549"/>
                    <a:pt x="47159" y="204187"/>
                    <a:pt x="50115" y="198893"/>
                  </a:cubicBezTo>
                  <a:cubicBezTo>
                    <a:pt x="50940" y="197381"/>
                    <a:pt x="51833" y="195869"/>
                    <a:pt x="51627" y="194013"/>
                  </a:cubicBezTo>
                  <a:cubicBezTo>
                    <a:pt x="51146" y="188444"/>
                    <a:pt x="44959" y="184045"/>
                    <a:pt x="39597" y="185420"/>
                  </a:cubicBezTo>
                  <a:cubicBezTo>
                    <a:pt x="33410" y="187001"/>
                    <a:pt x="27223" y="188582"/>
                    <a:pt x="21105" y="190232"/>
                  </a:cubicBezTo>
                  <a:cubicBezTo>
                    <a:pt x="18630" y="190919"/>
                    <a:pt x="16774" y="190163"/>
                    <a:pt x="15193" y="188238"/>
                  </a:cubicBezTo>
                  <a:cubicBezTo>
                    <a:pt x="13887" y="186657"/>
                    <a:pt x="13062" y="184870"/>
                    <a:pt x="12237" y="183014"/>
                  </a:cubicBezTo>
                  <a:cubicBezTo>
                    <a:pt x="10862" y="179783"/>
                    <a:pt x="11481" y="177445"/>
                    <a:pt x="14230" y="175314"/>
                  </a:cubicBezTo>
                  <a:cubicBezTo>
                    <a:pt x="18767" y="171671"/>
                    <a:pt x="23373" y="168096"/>
                    <a:pt x="27910" y="164453"/>
                  </a:cubicBezTo>
                  <a:cubicBezTo>
                    <a:pt x="32722" y="160741"/>
                    <a:pt x="33135" y="159159"/>
                    <a:pt x="31554" y="153385"/>
                  </a:cubicBezTo>
                  <a:cubicBezTo>
                    <a:pt x="30454" y="149604"/>
                    <a:pt x="28185" y="147611"/>
                    <a:pt x="24198" y="147198"/>
                  </a:cubicBezTo>
                  <a:cubicBezTo>
                    <a:pt x="18424" y="146579"/>
                    <a:pt x="12718" y="145479"/>
                    <a:pt x="6943" y="144861"/>
                  </a:cubicBezTo>
                  <a:cubicBezTo>
                    <a:pt x="3644" y="144517"/>
                    <a:pt x="1306" y="143211"/>
                    <a:pt x="138" y="140049"/>
                  </a:cubicBezTo>
                  <a:cubicBezTo>
                    <a:pt x="0" y="137093"/>
                    <a:pt x="0" y="134343"/>
                    <a:pt x="0" y="131525"/>
                  </a:cubicBezTo>
                  <a:cubicBezTo>
                    <a:pt x="1100" y="129462"/>
                    <a:pt x="2819" y="128431"/>
                    <a:pt x="5019" y="127881"/>
                  </a:cubicBezTo>
                  <a:cubicBezTo>
                    <a:pt x="10931" y="126300"/>
                    <a:pt x="16705" y="124513"/>
                    <a:pt x="22617" y="122931"/>
                  </a:cubicBezTo>
                  <a:cubicBezTo>
                    <a:pt x="26192" y="121969"/>
                    <a:pt x="28323" y="119975"/>
                    <a:pt x="28667" y="116194"/>
                  </a:cubicBezTo>
                  <a:cubicBezTo>
                    <a:pt x="28735" y="115232"/>
                    <a:pt x="28873" y="114270"/>
                    <a:pt x="29010" y="113307"/>
                  </a:cubicBezTo>
                  <a:cubicBezTo>
                    <a:pt x="29354" y="110076"/>
                    <a:pt x="27910" y="107876"/>
                    <a:pt x="25229" y="106295"/>
                  </a:cubicBezTo>
                  <a:cubicBezTo>
                    <a:pt x="19867" y="103202"/>
                    <a:pt x="14574" y="100040"/>
                    <a:pt x="9281" y="96946"/>
                  </a:cubicBezTo>
                  <a:cubicBezTo>
                    <a:pt x="5362" y="94678"/>
                    <a:pt x="4675" y="92959"/>
                    <a:pt x="5843" y="88560"/>
                  </a:cubicBezTo>
                  <a:cubicBezTo>
                    <a:pt x="5981" y="88147"/>
                    <a:pt x="6050" y="87735"/>
                    <a:pt x="6187" y="87391"/>
                  </a:cubicBezTo>
                  <a:cubicBezTo>
                    <a:pt x="7906" y="81685"/>
                    <a:pt x="9418" y="80585"/>
                    <a:pt x="15261" y="81135"/>
                  </a:cubicBezTo>
                  <a:cubicBezTo>
                    <a:pt x="20898" y="81685"/>
                    <a:pt x="26535" y="82304"/>
                    <a:pt x="32173" y="83060"/>
                  </a:cubicBezTo>
                  <a:cubicBezTo>
                    <a:pt x="36641" y="83610"/>
                    <a:pt x="38566" y="82854"/>
                    <a:pt x="40834" y="79073"/>
                  </a:cubicBezTo>
                  <a:cubicBezTo>
                    <a:pt x="44065" y="73848"/>
                    <a:pt x="43928" y="72198"/>
                    <a:pt x="40147" y="67318"/>
                  </a:cubicBezTo>
                  <a:cubicBezTo>
                    <a:pt x="36572" y="62712"/>
                    <a:pt x="33066" y="58037"/>
                    <a:pt x="29629" y="53363"/>
                  </a:cubicBezTo>
                  <a:cubicBezTo>
                    <a:pt x="27567" y="50613"/>
                    <a:pt x="27567" y="48344"/>
                    <a:pt x="29629" y="45595"/>
                  </a:cubicBezTo>
                  <a:cubicBezTo>
                    <a:pt x="30660" y="44220"/>
                    <a:pt x="31760" y="42845"/>
                    <a:pt x="33066" y="41745"/>
                  </a:cubicBezTo>
                  <a:cubicBezTo>
                    <a:pt x="35678" y="39545"/>
                    <a:pt x="37466" y="39270"/>
                    <a:pt x="40422" y="40920"/>
                  </a:cubicBezTo>
                  <a:cubicBezTo>
                    <a:pt x="45646" y="43807"/>
                    <a:pt x="51008" y="46488"/>
                    <a:pt x="56027" y="49719"/>
                  </a:cubicBezTo>
                  <a:cubicBezTo>
                    <a:pt x="61801" y="53431"/>
                    <a:pt x="65788" y="50957"/>
                    <a:pt x="69982" y="45801"/>
                  </a:cubicBezTo>
                  <a:cubicBezTo>
                    <a:pt x="71357" y="44082"/>
                    <a:pt x="70875" y="41814"/>
                    <a:pt x="70325" y="39751"/>
                  </a:cubicBezTo>
                  <a:cubicBezTo>
                    <a:pt x="68813" y="33908"/>
                    <a:pt x="67301" y="28065"/>
                    <a:pt x="65788" y="22221"/>
                  </a:cubicBezTo>
                  <a:cubicBezTo>
                    <a:pt x="64688" y="18028"/>
                    <a:pt x="65376" y="16309"/>
                    <a:pt x="69088" y="14110"/>
                  </a:cubicBezTo>
                  <a:cubicBezTo>
                    <a:pt x="69913" y="13628"/>
                    <a:pt x="70738" y="13147"/>
                    <a:pt x="71632" y="12735"/>
                  </a:cubicBezTo>
                  <a:cubicBezTo>
                    <a:pt x="76100" y="10672"/>
                    <a:pt x="78094" y="11154"/>
                    <a:pt x="81118" y="15072"/>
                  </a:cubicBezTo>
                  <a:cubicBezTo>
                    <a:pt x="84762" y="19678"/>
                    <a:pt x="88405" y="24353"/>
                    <a:pt x="92049" y="28958"/>
                  </a:cubicBezTo>
                  <a:cubicBezTo>
                    <a:pt x="95486" y="33221"/>
                    <a:pt x="103529" y="33221"/>
                    <a:pt x="106966" y="28890"/>
                  </a:cubicBezTo>
                  <a:cubicBezTo>
                    <a:pt x="108410" y="27034"/>
                    <a:pt x="108410" y="24696"/>
                    <a:pt x="108754" y="22565"/>
                  </a:cubicBezTo>
                  <a:cubicBezTo>
                    <a:pt x="109578" y="17203"/>
                    <a:pt x="110266" y="11841"/>
                    <a:pt x="110953" y="6479"/>
                  </a:cubicBezTo>
                  <a:cubicBezTo>
                    <a:pt x="111503" y="2217"/>
                    <a:pt x="112672" y="1048"/>
                    <a:pt x="116934" y="292"/>
                  </a:cubicBezTo>
                  <a:cubicBezTo>
                    <a:pt x="118721" y="-52"/>
                    <a:pt x="120509" y="-52"/>
                    <a:pt x="122296" y="86"/>
                  </a:cubicBezTo>
                  <a:close/>
                </a:path>
              </a:pathLst>
            </a:custGeom>
            <a:solidFill>
              <a:schemeClr val="bg1"/>
            </a:solidFill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Group 38"/>
          <p:cNvGrpSpPr/>
          <p:nvPr userDrawn="1"/>
        </p:nvGrpSpPr>
        <p:grpSpPr>
          <a:xfrm rot="17572368" flipH="1">
            <a:off x="1480750" y="1474295"/>
            <a:ext cx="487113" cy="1701453"/>
            <a:chOff x="391499" y="630207"/>
            <a:chExt cx="531848" cy="1593194"/>
          </a:xfrm>
        </p:grpSpPr>
        <p:sp>
          <p:nvSpPr>
            <p:cNvPr id="40" name="Rectangle: Rounded Corners 39"/>
            <p:cNvSpPr/>
            <p:nvPr/>
          </p:nvSpPr>
          <p:spPr>
            <a:xfrm rot="20495611">
              <a:off x="400453" y="630207"/>
              <a:ext cx="522894" cy="1539139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: Rounded Corners 40"/>
            <p:cNvSpPr/>
            <p:nvPr/>
          </p:nvSpPr>
          <p:spPr>
            <a:xfrm rot="20495611">
              <a:off x="391499" y="684262"/>
              <a:ext cx="191608" cy="1539139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/>
          <p:cNvGrpSpPr/>
          <p:nvPr userDrawn="1"/>
        </p:nvGrpSpPr>
        <p:grpSpPr>
          <a:xfrm rot="9737426" flipH="1">
            <a:off x="2091150" y="2624217"/>
            <a:ext cx="514460" cy="514460"/>
            <a:chOff x="121429" y="411151"/>
            <a:chExt cx="607375" cy="607375"/>
          </a:xfrm>
        </p:grpSpPr>
        <p:sp>
          <p:nvSpPr>
            <p:cNvPr id="43" name="Oval 42"/>
            <p:cNvSpPr/>
            <p:nvPr/>
          </p:nvSpPr>
          <p:spPr>
            <a:xfrm>
              <a:off x="121429" y="411151"/>
              <a:ext cx="607375" cy="607375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186933" y="476655"/>
              <a:ext cx="476367" cy="476367"/>
            </a:xfrm>
            <a:custGeom>
              <a:avLst/>
              <a:gdLst>
                <a:gd name="connsiteX0" fmla="*/ 977265 w 1950394"/>
                <a:gd name="connsiteY0" fmla="*/ 1954006 h 1950394"/>
                <a:gd name="connsiteX1" fmla="*/ 4 w 1950394"/>
                <a:gd name="connsiteY1" fmla="*/ 977261 h 1950394"/>
                <a:gd name="connsiteX2" fmla="*/ 976749 w 1950394"/>
                <a:gd name="connsiteY2" fmla="*/ 0 h 1950394"/>
                <a:gd name="connsiteX3" fmla="*/ 1953494 w 1950394"/>
                <a:gd name="connsiteY3" fmla="*/ 976229 h 1950394"/>
                <a:gd name="connsiteX4" fmla="*/ 977265 w 1950394"/>
                <a:gd name="connsiteY4" fmla="*/ 1954006 h 1950394"/>
                <a:gd name="connsiteX5" fmla="*/ 1198104 w 1950394"/>
                <a:gd name="connsiteY5" fmla="*/ 1613977 h 1950394"/>
                <a:gd name="connsiteX6" fmla="*/ 1221839 w 1950394"/>
                <a:gd name="connsiteY6" fmla="*/ 1574763 h 1950394"/>
                <a:gd name="connsiteX7" fmla="*/ 1240930 w 1950394"/>
                <a:gd name="connsiteY7" fmla="*/ 1566507 h 1950394"/>
                <a:gd name="connsiteX8" fmla="*/ 1257957 w 1950394"/>
                <a:gd name="connsiteY8" fmla="*/ 1569603 h 1950394"/>
                <a:gd name="connsiteX9" fmla="*/ 1298203 w 1950394"/>
                <a:gd name="connsiteY9" fmla="*/ 1624297 h 1950394"/>
                <a:gd name="connsiteX10" fmla="*/ 1311619 w 1950394"/>
                <a:gd name="connsiteY10" fmla="*/ 1629456 h 1950394"/>
                <a:gd name="connsiteX11" fmla="*/ 1375084 w 1950394"/>
                <a:gd name="connsiteY11" fmla="*/ 1592822 h 1950394"/>
                <a:gd name="connsiteX12" fmla="*/ 1377148 w 1950394"/>
                <a:gd name="connsiteY12" fmla="*/ 1578891 h 1950394"/>
                <a:gd name="connsiteX13" fmla="*/ 1349285 w 1950394"/>
                <a:gd name="connsiteY13" fmla="*/ 1515426 h 1950394"/>
                <a:gd name="connsiteX14" fmla="*/ 1353413 w 1950394"/>
                <a:gd name="connsiteY14" fmla="*/ 1502010 h 1950394"/>
                <a:gd name="connsiteX15" fmla="*/ 1385919 w 1950394"/>
                <a:gd name="connsiteY15" fmla="*/ 1476727 h 1950394"/>
                <a:gd name="connsiteX16" fmla="*/ 1400883 w 1950394"/>
                <a:gd name="connsiteY16" fmla="*/ 1476727 h 1950394"/>
                <a:gd name="connsiteX17" fmla="*/ 1452996 w 1950394"/>
                <a:gd name="connsiteY17" fmla="*/ 1518005 h 1950394"/>
                <a:gd name="connsiteX18" fmla="*/ 1470024 w 1950394"/>
                <a:gd name="connsiteY18" fmla="*/ 1519553 h 1950394"/>
                <a:gd name="connsiteX19" fmla="*/ 1519041 w 1950394"/>
                <a:gd name="connsiteY19" fmla="*/ 1470535 h 1950394"/>
                <a:gd name="connsiteX20" fmla="*/ 1518010 w 1950394"/>
                <a:gd name="connsiteY20" fmla="*/ 1453508 h 1950394"/>
                <a:gd name="connsiteX21" fmla="*/ 1475699 w 1950394"/>
                <a:gd name="connsiteY21" fmla="*/ 1400363 h 1950394"/>
                <a:gd name="connsiteX22" fmla="*/ 1476215 w 1950394"/>
                <a:gd name="connsiteY22" fmla="*/ 1386431 h 1950394"/>
                <a:gd name="connsiteX23" fmla="*/ 1501498 w 1950394"/>
                <a:gd name="connsiteY23" fmla="*/ 1353925 h 1950394"/>
                <a:gd name="connsiteX24" fmla="*/ 1515946 w 1950394"/>
                <a:gd name="connsiteY24" fmla="*/ 1349797 h 1950394"/>
                <a:gd name="connsiteX25" fmla="*/ 1579411 w 1950394"/>
                <a:gd name="connsiteY25" fmla="*/ 1377660 h 1950394"/>
                <a:gd name="connsiteX26" fmla="*/ 1592310 w 1950394"/>
                <a:gd name="connsiteY26" fmla="*/ 1375596 h 1950394"/>
                <a:gd name="connsiteX27" fmla="*/ 1628945 w 1950394"/>
                <a:gd name="connsiteY27" fmla="*/ 1312130 h 1950394"/>
                <a:gd name="connsiteX28" fmla="*/ 1623785 w 1950394"/>
                <a:gd name="connsiteY28" fmla="*/ 1298199 h 1950394"/>
                <a:gd name="connsiteX29" fmla="*/ 1577863 w 1950394"/>
                <a:gd name="connsiteY29" fmla="*/ 1265692 h 1950394"/>
                <a:gd name="connsiteX30" fmla="*/ 1571155 w 1950394"/>
                <a:gd name="connsiteY30" fmla="*/ 1230090 h 1950394"/>
                <a:gd name="connsiteX31" fmla="*/ 1579927 w 1950394"/>
                <a:gd name="connsiteY31" fmla="*/ 1208419 h 1950394"/>
                <a:gd name="connsiteX32" fmla="*/ 1596438 w 1950394"/>
                <a:gd name="connsiteY32" fmla="*/ 1197583 h 1950394"/>
                <a:gd name="connsiteX33" fmla="*/ 1660935 w 1950394"/>
                <a:gd name="connsiteY33" fmla="*/ 1207387 h 1950394"/>
                <a:gd name="connsiteX34" fmla="*/ 1675383 w 1950394"/>
                <a:gd name="connsiteY34" fmla="*/ 1201195 h 1950394"/>
                <a:gd name="connsiteX35" fmla="*/ 1693442 w 1950394"/>
                <a:gd name="connsiteY35" fmla="*/ 1132570 h 1950394"/>
                <a:gd name="connsiteX36" fmla="*/ 1684154 w 1950394"/>
                <a:gd name="connsiteY36" fmla="*/ 1119155 h 1950394"/>
                <a:gd name="connsiteX37" fmla="*/ 1621205 w 1950394"/>
                <a:gd name="connsiteY37" fmla="*/ 1093872 h 1950394"/>
                <a:gd name="connsiteX38" fmla="*/ 1614497 w 1950394"/>
                <a:gd name="connsiteY38" fmla="*/ 1083037 h 1950394"/>
                <a:gd name="connsiteX39" fmla="*/ 1620173 w 1950394"/>
                <a:gd name="connsiteY39" fmla="*/ 1042274 h 1950394"/>
                <a:gd name="connsiteX40" fmla="*/ 1632557 w 1950394"/>
                <a:gd name="connsiteY40" fmla="*/ 1029891 h 1950394"/>
                <a:gd name="connsiteX41" fmla="*/ 1696022 w 1950394"/>
                <a:gd name="connsiteY41" fmla="*/ 1022667 h 1950394"/>
                <a:gd name="connsiteX42" fmla="*/ 1709437 w 1950394"/>
                <a:gd name="connsiteY42" fmla="*/ 1010800 h 1950394"/>
                <a:gd name="connsiteX43" fmla="*/ 1709437 w 1950394"/>
                <a:gd name="connsiteY43" fmla="*/ 943723 h 1950394"/>
                <a:gd name="connsiteX44" fmla="*/ 1694990 w 1950394"/>
                <a:gd name="connsiteY44" fmla="*/ 931339 h 1950394"/>
                <a:gd name="connsiteX45" fmla="*/ 1650616 w 1950394"/>
                <a:gd name="connsiteY45" fmla="*/ 928243 h 1950394"/>
                <a:gd name="connsiteX46" fmla="*/ 1618109 w 1950394"/>
                <a:gd name="connsiteY46" fmla="*/ 892125 h 1950394"/>
                <a:gd name="connsiteX47" fmla="*/ 1615013 w 1950394"/>
                <a:gd name="connsiteY47" fmla="*/ 874582 h 1950394"/>
                <a:gd name="connsiteX48" fmla="*/ 1622753 w 1950394"/>
                <a:gd name="connsiteY48" fmla="*/ 859102 h 1950394"/>
                <a:gd name="connsiteX49" fmla="*/ 1684670 w 1950394"/>
                <a:gd name="connsiteY49" fmla="*/ 834851 h 1950394"/>
                <a:gd name="connsiteX50" fmla="*/ 1693442 w 1950394"/>
                <a:gd name="connsiteY50" fmla="*/ 821952 h 1950394"/>
                <a:gd name="connsiteX51" fmla="*/ 1674867 w 1950394"/>
                <a:gd name="connsiteY51" fmla="*/ 753327 h 1950394"/>
                <a:gd name="connsiteX52" fmla="*/ 1659903 w 1950394"/>
                <a:gd name="connsiteY52" fmla="*/ 746619 h 1950394"/>
                <a:gd name="connsiteX53" fmla="*/ 1594374 w 1950394"/>
                <a:gd name="connsiteY53" fmla="*/ 756423 h 1950394"/>
                <a:gd name="connsiteX54" fmla="*/ 1580443 w 1950394"/>
                <a:gd name="connsiteY54" fmla="*/ 747651 h 1950394"/>
                <a:gd name="connsiteX55" fmla="*/ 1565995 w 1950394"/>
                <a:gd name="connsiteY55" fmla="*/ 713081 h 1950394"/>
                <a:gd name="connsiteX56" fmla="*/ 1570123 w 1950394"/>
                <a:gd name="connsiteY56" fmla="*/ 696054 h 1950394"/>
                <a:gd name="connsiteX57" fmla="*/ 1623269 w 1950394"/>
                <a:gd name="connsiteY57" fmla="*/ 656323 h 1950394"/>
                <a:gd name="connsiteX58" fmla="*/ 1628429 w 1950394"/>
                <a:gd name="connsiteY58" fmla="*/ 641876 h 1950394"/>
                <a:gd name="connsiteX59" fmla="*/ 1592310 w 1950394"/>
                <a:gd name="connsiteY59" fmla="*/ 579443 h 1950394"/>
                <a:gd name="connsiteX60" fmla="*/ 1578379 w 1950394"/>
                <a:gd name="connsiteY60" fmla="*/ 576863 h 1950394"/>
                <a:gd name="connsiteX61" fmla="*/ 1532457 w 1950394"/>
                <a:gd name="connsiteY61" fmla="*/ 599050 h 1950394"/>
                <a:gd name="connsiteX62" fmla="*/ 1490147 w 1950394"/>
                <a:gd name="connsiteY62" fmla="*/ 585118 h 1950394"/>
                <a:gd name="connsiteX63" fmla="*/ 1477247 w 1950394"/>
                <a:gd name="connsiteY63" fmla="*/ 569123 h 1950394"/>
                <a:gd name="connsiteX64" fmla="*/ 1476731 w 1950394"/>
                <a:gd name="connsiteY64" fmla="*/ 552096 h 1950394"/>
                <a:gd name="connsiteX65" fmla="*/ 1518525 w 1950394"/>
                <a:gd name="connsiteY65" fmla="*/ 499982 h 1950394"/>
                <a:gd name="connsiteX66" fmla="*/ 1519557 w 1950394"/>
                <a:gd name="connsiteY66" fmla="*/ 483987 h 1950394"/>
                <a:gd name="connsiteX67" fmla="*/ 1470540 w 1950394"/>
                <a:gd name="connsiteY67" fmla="*/ 434453 h 1950394"/>
                <a:gd name="connsiteX68" fmla="*/ 1452480 w 1950394"/>
                <a:gd name="connsiteY68" fmla="*/ 436001 h 1950394"/>
                <a:gd name="connsiteX69" fmla="*/ 1418942 w 1950394"/>
                <a:gd name="connsiteY69" fmla="*/ 465412 h 1950394"/>
                <a:gd name="connsiteX70" fmla="*/ 1369408 w 1950394"/>
                <a:gd name="connsiteY70" fmla="*/ 463348 h 1950394"/>
                <a:gd name="connsiteX71" fmla="*/ 1354961 w 1950394"/>
                <a:gd name="connsiteY71" fmla="*/ 452512 h 1950394"/>
                <a:gd name="connsiteX72" fmla="*/ 1349801 w 1950394"/>
                <a:gd name="connsiteY72" fmla="*/ 436001 h 1950394"/>
                <a:gd name="connsiteX73" fmla="*/ 1377148 w 1950394"/>
                <a:gd name="connsiteY73" fmla="*/ 374084 h 1950394"/>
                <a:gd name="connsiteX74" fmla="*/ 1374052 w 1950394"/>
                <a:gd name="connsiteY74" fmla="*/ 360152 h 1950394"/>
                <a:gd name="connsiteX75" fmla="*/ 1312651 w 1950394"/>
                <a:gd name="connsiteY75" fmla="*/ 324550 h 1950394"/>
                <a:gd name="connsiteX76" fmla="*/ 1296655 w 1950394"/>
                <a:gd name="connsiteY76" fmla="*/ 329193 h 1950394"/>
                <a:gd name="connsiteX77" fmla="*/ 1256925 w 1950394"/>
                <a:gd name="connsiteY77" fmla="*/ 382855 h 1950394"/>
                <a:gd name="connsiteX78" fmla="*/ 1238866 w 1950394"/>
                <a:gd name="connsiteY78" fmla="*/ 386467 h 1950394"/>
                <a:gd name="connsiteX79" fmla="*/ 1206875 w 1950394"/>
                <a:gd name="connsiteY79" fmla="*/ 373052 h 1950394"/>
                <a:gd name="connsiteX80" fmla="*/ 1196556 w 1950394"/>
                <a:gd name="connsiteY80" fmla="*/ 357572 h 1950394"/>
                <a:gd name="connsiteX81" fmla="*/ 1206359 w 1950394"/>
                <a:gd name="connsiteY81" fmla="*/ 293075 h 1950394"/>
                <a:gd name="connsiteX82" fmla="*/ 1199652 w 1950394"/>
                <a:gd name="connsiteY82" fmla="*/ 278112 h 1950394"/>
                <a:gd name="connsiteX83" fmla="*/ 1131027 w 1950394"/>
                <a:gd name="connsiteY83" fmla="*/ 259537 h 1950394"/>
                <a:gd name="connsiteX84" fmla="*/ 1118127 w 1950394"/>
                <a:gd name="connsiteY84" fmla="*/ 268308 h 1950394"/>
                <a:gd name="connsiteX85" fmla="*/ 1093360 w 1950394"/>
                <a:gd name="connsiteY85" fmla="*/ 331258 h 1950394"/>
                <a:gd name="connsiteX86" fmla="*/ 1079945 w 1950394"/>
                <a:gd name="connsiteY86" fmla="*/ 338481 h 1950394"/>
                <a:gd name="connsiteX87" fmla="*/ 1042794 w 1950394"/>
                <a:gd name="connsiteY87" fmla="*/ 333837 h 1950394"/>
                <a:gd name="connsiteX88" fmla="*/ 1028347 w 1950394"/>
                <a:gd name="connsiteY88" fmla="*/ 320422 h 1950394"/>
                <a:gd name="connsiteX89" fmla="*/ 1021123 w 1950394"/>
                <a:gd name="connsiteY89" fmla="*/ 257989 h 1950394"/>
                <a:gd name="connsiteX90" fmla="*/ 1008740 w 1950394"/>
                <a:gd name="connsiteY90" fmla="*/ 243541 h 1950394"/>
                <a:gd name="connsiteX91" fmla="*/ 941663 w 1950394"/>
                <a:gd name="connsiteY91" fmla="*/ 243541 h 1950394"/>
                <a:gd name="connsiteX92" fmla="*/ 929795 w 1950394"/>
                <a:gd name="connsiteY92" fmla="*/ 256957 h 1950394"/>
                <a:gd name="connsiteX93" fmla="*/ 922572 w 1950394"/>
                <a:gd name="connsiteY93" fmla="*/ 320422 h 1950394"/>
                <a:gd name="connsiteX94" fmla="*/ 909156 w 1950394"/>
                <a:gd name="connsiteY94" fmla="*/ 333321 h 1950394"/>
                <a:gd name="connsiteX95" fmla="*/ 872006 w 1950394"/>
                <a:gd name="connsiteY95" fmla="*/ 337965 h 1950394"/>
                <a:gd name="connsiteX96" fmla="*/ 857559 w 1950394"/>
                <a:gd name="connsiteY96" fmla="*/ 330226 h 1950394"/>
                <a:gd name="connsiteX97" fmla="*/ 833308 w 1950394"/>
                <a:gd name="connsiteY97" fmla="*/ 268308 h 1950394"/>
                <a:gd name="connsiteX98" fmla="*/ 819892 w 1950394"/>
                <a:gd name="connsiteY98" fmla="*/ 259021 h 1950394"/>
                <a:gd name="connsiteX99" fmla="*/ 753847 w 1950394"/>
                <a:gd name="connsiteY99" fmla="*/ 276564 h 1950394"/>
                <a:gd name="connsiteX100" fmla="*/ 745591 w 1950394"/>
                <a:gd name="connsiteY100" fmla="*/ 293075 h 1950394"/>
                <a:gd name="connsiteX101" fmla="*/ 754879 w 1950394"/>
                <a:gd name="connsiteY101" fmla="*/ 339513 h 1950394"/>
                <a:gd name="connsiteX102" fmla="*/ 728564 w 1950394"/>
                <a:gd name="connsiteY102" fmla="*/ 378728 h 1950394"/>
                <a:gd name="connsiteX103" fmla="*/ 712053 w 1950394"/>
                <a:gd name="connsiteY103" fmla="*/ 385951 h 1950394"/>
                <a:gd name="connsiteX104" fmla="*/ 695026 w 1950394"/>
                <a:gd name="connsiteY104" fmla="*/ 382855 h 1950394"/>
                <a:gd name="connsiteX105" fmla="*/ 654779 w 1950394"/>
                <a:gd name="connsiteY105" fmla="*/ 328161 h 1950394"/>
                <a:gd name="connsiteX106" fmla="*/ 641364 w 1950394"/>
                <a:gd name="connsiteY106" fmla="*/ 323002 h 1950394"/>
                <a:gd name="connsiteX107" fmla="*/ 577899 w 1950394"/>
                <a:gd name="connsiteY107" fmla="*/ 359636 h 1950394"/>
                <a:gd name="connsiteX108" fmla="*/ 574803 w 1950394"/>
                <a:gd name="connsiteY108" fmla="*/ 372536 h 1950394"/>
                <a:gd name="connsiteX109" fmla="*/ 602666 w 1950394"/>
                <a:gd name="connsiteY109" fmla="*/ 435485 h 1950394"/>
                <a:gd name="connsiteX110" fmla="*/ 598022 w 1950394"/>
                <a:gd name="connsiteY110" fmla="*/ 450964 h 1950394"/>
                <a:gd name="connsiteX111" fmla="*/ 567579 w 1950394"/>
                <a:gd name="connsiteY111" fmla="*/ 474699 h 1950394"/>
                <a:gd name="connsiteX112" fmla="*/ 550552 w 1950394"/>
                <a:gd name="connsiteY112" fmla="*/ 474699 h 1950394"/>
                <a:gd name="connsiteX113" fmla="*/ 498438 w 1950394"/>
                <a:gd name="connsiteY113" fmla="*/ 432905 h 1950394"/>
                <a:gd name="connsiteX114" fmla="*/ 483475 w 1950394"/>
                <a:gd name="connsiteY114" fmla="*/ 431357 h 1950394"/>
                <a:gd name="connsiteX115" fmla="*/ 432393 w 1950394"/>
                <a:gd name="connsiteY115" fmla="*/ 482439 h 1950394"/>
                <a:gd name="connsiteX116" fmla="*/ 433425 w 1950394"/>
                <a:gd name="connsiteY116" fmla="*/ 497402 h 1950394"/>
                <a:gd name="connsiteX117" fmla="*/ 475735 w 1950394"/>
                <a:gd name="connsiteY117" fmla="*/ 550032 h 1950394"/>
                <a:gd name="connsiteX118" fmla="*/ 475219 w 1950394"/>
                <a:gd name="connsiteY118" fmla="*/ 566027 h 1950394"/>
                <a:gd name="connsiteX119" fmla="*/ 450968 w 1950394"/>
                <a:gd name="connsiteY119" fmla="*/ 597502 h 1950394"/>
                <a:gd name="connsiteX120" fmla="*/ 437553 w 1950394"/>
                <a:gd name="connsiteY120" fmla="*/ 601629 h 1950394"/>
                <a:gd name="connsiteX121" fmla="*/ 373056 w 1950394"/>
                <a:gd name="connsiteY121" fmla="*/ 573251 h 1950394"/>
                <a:gd name="connsiteX122" fmla="*/ 360156 w 1950394"/>
                <a:gd name="connsiteY122" fmla="*/ 575315 h 1950394"/>
                <a:gd name="connsiteX123" fmla="*/ 323522 w 1950394"/>
                <a:gd name="connsiteY123" fmla="*/ 638780 h 1950394"/>
                <a:gd name="connsiteX124" fmla="*/ 328166 w 1950394"/>
                <a:gd name="connsiteY124" fmla="*/ 652711 h 1950394"/>
                <a:gd name="connsiteX125" fmla="*/ 374088 w 1950394"/>
                <a:gd name="connsiteY125" fmla="*/ 685218 h 1950394"/>
                <a:gd name="connsiteX126" fmla="*/ 380795 w 1950394"/>
                <a:gd name="connsiteY126" fmla="*/ 720820 h 1950394"/>
                <a:gd name="connsiteX127" fmla="*/ 372024 w 1950394"/>
                <a:gd name="connsiteY127" fmla="*/ 742492 h 1950394"/>
                <a:gd name="connsiteX128" fmla="*/ 355513 w 1950394"/>
                <a:gd name="connsiteY128" fmla="*/ 753327 h 1950394"/>
                <a:gd name="connsiteX129" fmla="*/ 291015 w 1950394"/>
                <a:gd name="connsiteY129" fmla="*/ 743523 h 1950394"/>
                <a:gd name="connsiteX130" fmla="*/ 276568 w 1950394"/>
                <a:gd name="connsiteY130" fmla="*/ 751263 h 1950394"/>
                <a:gd name="connsiteX131" fmla="*/ 258509 w 1950394"/>
                <a:gd name="connsiteY131" fmla="*/ 818340 h 1950394"/>
                <a:gd name="connsiteX132" fmla="*/ 267796 w 1950394"/>
                <a:gd name="connsiteY132" fmla="*/ 831756 h 1950394"/>
                <a:gd name="connsiteX133" fmla="*/ 330746 w 1950394"/>
                <a:gd name="connsiteY133" fmla="*/ 857038 h 1950394"/>
                <a:gd name="connsiteX134" fmla="*/ 337453 w 1950394"/>
                <a:gd name="connsiteY134" fmla="*/ 869422 h 1950394"/>
                <a:gd name="connsiteX135" fmla="*/ 332810 w 1950394"/>
                <a:gd name="connsiteY135" fmla="*/ 906572 h 1950394"/>
                <a:gd name="connsiteX136" fmla="*/ 318878 w 1950394"/>
                <a:gd name="connsiteY136" fmla="*/ 922052 h 1950394"/>
                <a:gd name="connsiteX137" fmla="*/ 256445 w 1950394"/>
                <a:gd name="connsiteY137" fmla="*/ 929275 h 1950394"/>
                <a:gd name="connsiteX138" fmla="*/ 242514 w 1950394"/>
                <a:gd name="connsiteY138" fmla="*/ 942175 h 1950394"/>
                <a:gd name="connsiteX139" fmla="*/ 242514 w 1950394"/>
                <a:gd name="connsiteY139" fmla="*/ 1006672 h 1950394"/>
                <a:gd name="connsiteX140" fmla="*/ 257993 w 1950394"/>
                <a:gd name="connsiteY140" fmla="*/ 1020603 h 1950394"/>
                <a:gd name="connsiteX141" fmla="*/ 321458 w 1950394"/>
                <a:gd name="connsiteY141" fmla="*/ 1028343 h 1950394"/>
                <a:gd name="connsiteX142" fmla="*/ 331778 w 1950394"/>
                <a:gd name="connsiteY142" fmla="*/ 1039694 h 1950394"/>
                <a:gd name="connsiteX143" fmla="*/ 336937 w 1950394"/>
                <a:gd name="connsiteY143" fmla="*/ 1077877 h 1950394"/>
                <a:gd name="connsiteX144" fmla="*/ 329198 w 1950394"/>
                <a:gd name="connsiteY144" fmla="*/ 1093356 h 1950394"/>
                <a:gd name="connsiteX145" fmla="*/ 265733 w 1950394"/>
                <a:gd name="connsiteY145" fmla="*/ 1117607 h 1950394"/>
                <a:gd name="connsiteX146" fmla="*/ 257993 w 1950394"/>
                <a:gd name="connsiteY146" fmla="*/ 1129990 h 1950394"/>
                <a:gd name="connsiteX147" fmla="*/ 276568 w 1950394"/>
                <a:gd name="connsiteY147" fmla="*/ 1198615 h 1950394"/>
                <a:gd name="connsiteX148" fmla="*/ 291531 w 1950394"/>
                <a:gd name="connsiteY148" fmla="*/ 1205839 h 1950394"/>
                <a:gd name="connsiteX149" fmla="*/ 345709 w 1950394"/>
                <a:gd name="connsiteY149" fmla="*/ 1196035 h 1950394"/>
                <a:gd name="connsiteX150" fmla="*/ 375636 w 1950394"/>
                <a:gd name="connsiteY150" fmla="*/ 1216675 h 1950394"/>
                <a:gd name="connsiteX151" fmla="*/ 384407 w 1950394"/>
                <a:gd name="connsiteY151" fmla="*/ 1236798 h 1950394"/>
                <a:gd name="connsiteX152" fmla="*/ 379764 w 1950394"/>
                <a:gd name="connsiteY152" fmla="*/ 1257953 h 1950394"/>
                <a:gd name="connsiteX153" fmla="*/ 327134 w 1950394"/>
                <a:gd name="connsiteY153" fmla="*/ 1296651 h 1950394"/>
                <a:gd name="connsiteX154" fmla="*/ 322490 w 1950394"/>
                <a:gd name="connsiteY154" fmla="*/ 1310583 h 1950394"/>
                <a:gd name="connsiteX155" fmla="*/ 359124 w 1950394"/>
                <a:gd name="connsiteY155" fmla="*/ 1374048 h 1950394"/>
                <a:gd name="connsiteX156" fmla="*/ 370992 w 1950394"/>
                <a:gd name="connsiteY156" fmla="*/ 1376628 h 1950394"/>
                <a:gd name="connsiteX157" fmla="*/ 433941 w 1950394"/>
                <a:gd name="connsiteY157" fmla="*/ 1348765 h 1950394"/>
                <a:gd name="connsiteX158" fmla="*/ 450452 w 1950394"/>
                <a:gd name="connsiteY158" fmla="*/ 1353925 h 1950394"/>
                <a:gd name="connsiteX159" fmla="*/ 474187 w 1950394"/>
                <a:gd name="connsiteY159" fmla="*/ 1384367 h 1950394"/>
                <a:gd name="connsiteX160" fmla="*/ 475219 w 1950394"/>
                <a:gd name="connsiteY160" fmla="*/ 1399331 h 1950394"/>
                <a:gd name="connsiteX161" fmla="*/ 432909 w 1950394"/>
                <a:gd name="connsiteY161" fmla="*/ 1452476 h 1950394"/>
                <a:gd name="connsiteX162" fmla="*/ 431877 w 1950394"/>
                <a:gd name="connsiteY162" fmla="*/ 1468471 h 1950394"/>
                <a:gd name="connsiteX163" fmla="*/ 481927 w 1950394"/>
                <a:gd name="connsiteY163" fmla="*/ 1518521 h 1950394"/>
                <a:gd name="connsiteX164" fmla="*/ 497922 w 1950394"/>
                <a:gd name="connsiteY164" fmla="*/ 1517489 h 1950394"/>
                <a:gd name="connsiteX165" fmla="*/ 550036 w 1950394"/>
                <a:gd name="connsiteY165" fmla="*/ 1475695 h 1950394"/>
                <a:gd name="connsiteX166" fmla="*/ 567063 w 1950394"/>
                <a:gd name="connsiteY166" fmla="*/ 1476211 h 1950394"/>
                <a:gd name="connsiteX167" fmla="*/ 596474 w 1950394"/>
                <a:gd name="connsiteY167" fmla="*/ 1498914 h 1950394"/>
                <a:gd name="connsiteX168" fmla="*/ 601634 w 1950394"/>
                <a:gd name="connsiteY168" fmla="*/ 1515426 h 1950394"/>
                <a:gd name="connsiteX169" fmla="*/ 574287 w 1950394"/>
                <a:gd name="connsiteY169" fmla="*/ 1577343 h 1950394"/>
                <a:gd name="connsiteX170" fmla="*/ 576867 w 1950394"/>
                <a:gd name="connsiteY170" fmla="*/ 1591274 h 1950394"/>
                <a:gd name="connsiteX171" fmla="*/ 639300 w 1950394"/>
                <a:gd name="connsiteY171" fmla="*/ 1627393 h 1950394"/>
                <a:gd name="connsiteX172" fmla="*/ 653747 w 1950394"/>
                <a:gd name="connsiteY172" fmla="*/ 1622233 h 1950394"/>
                <a:gd name="connsiteX173" fmla="*/ 693478 w 1950394"/>
                <a:gd name="connsiteY173" fmla="*/ 1568571 h 1950394"/>
                <a:gd name="connsiteX174" fmla="*/ 711537 w 1950394"/>
                <a:gd name="connsiteY174" fmla="*/ 1564959 h 1950394"/>
                <a:gd name="connsiteX175" fmla="*/ 743528 w 1950394"/>
                <a:gd name="connsiteY175" fmla="*/ 1578375 h 1950394"/>
                <a:gd name="connsiteX176" fmla="*/ 753847 w 1950394"/>
                <a:gd name="connsiteY176" fmla="*/ 1593854 h 1950394"/>
                <a:gd name="connsiteX177" fmla="*/ 744044 w 1950394"/>
                <a:gd name="connsiteY177" fmla="*/ 1658351 h 1950394"/>
                <a:gd name="connsiteX178" fmla="*/ 752299 w 1950394"/>
                <a:gd name="connsiteY178" fmla="*/ 1673831 h 1950394"/>
                <a:gd name="connsiteX179" fmla="*/ 818344 w 1950394"/>
                <a:gd name="connsiteY179" fmla="*/ 1691374 h 1950394"/>
                <a:gd name="connsiteX180" fmla="*/ 832276 w 1950394"/>
                <a:gd name="connsiteY180" fmla="*/ 1682602 h 1950394"/>
                <a:gd name="connsiteX181" fmla="*/ 857043 w 1950394"/>
                <a:gd name="connsiteY181" fmla="*/ 1619653 h 1950394"/>
                <a:gd name="connsiteX182" fmla="*/ 868910 w 1950394"/>
                <a:gd name="connsiteY182" fmla="*/ 1612429 h 1950394"/>
                <a:gd name="connsiteX183" fmla="*/ 908640 w 1950394"/>
                <a:gd name="connsiteY183" fmla="*/ 1617589 h 1950394"/>
                <a:gd name="connsiteX184" fmla="*/ 922056 w 1950394"/>
                <a:gd name="connsiteY184" fmla="*/ 1630488 h 1950394"/>
                <a:gd name="connsiteX185" fmla="*/ 929279 w 1950394"/>
                <a:gd name="connsiteY185" fmla="*/ 1692922 h 1950394"/>
                <a:gd name="connsiteX186" fmla="*/ 942695 w 1950394"/>
                <a:gd name="connsiteY186" fmla="*/ 1707369 h 1950394"/>
                <a:gd name="connsiteX187" fmla="*/ 1007192 w 1950394"/>
                <a:gd name="connsiteY187" fmla="*/ 1707369 h 1950394"/>
                <a:gd name="connsiteX188" fmla="*/ 1020607 w 1950394"/>
                <a:gd name="connsiteY188" fmla="*/ 1692406 h 1950394"/>
                <a:gd name="connsiteX189" fmla="*/ 1028347 w 1950394"/>
                <a:gd name="connsiteY189" fmla="*/ 1628941 h 1950394"/>
                <a:gd name="connsiteX190" fmla="*/ 1040215 w 1950394"/>
                <a:gd name="connsiteY190" fmla="*/ 1617589 h 1950394"/>
                <a:gd name="connsiteX191" fmla="*/ 1078397 w 1950394"/>
                <a:gd name="connsiteY191" fmla="*/ 1612429 h 1950394"/>
                <a:gd name="connsiteX192" fmla="*/ 1092844 w 1950394"/>
                <a:gd name="connsiteY192" fmla="*/ 1619653 h 1950394"/>
                <a:gd name="connsiteX193" fmla="*/ 1117095 w 1950394"/>
                <a:gd name="connsiteY193" fmla="*/ 1681570 h 1950394"/>
                <a:gd name="connsiteX194" fmla="*/ 1130511 w 1950394"/>
                <a:gd name="connsiteY194" fmla="*/ 1690858 h 1950394"/>
                <a:gd name="connsiteX195" fmla="*/ 1196556 w 1950394"/>
                <a:gd name="connsiteY195" fmla="*/ 1673315 h 1950394"/>
                <a:gd name="connsiteX196" fmla="*/ 1204811 w 1950394"/>
                <a:gd name="connsiteY196" fmla="*/ 1656803 h 1950394"/>
                <a:gd name="connsiteX197" fmla="*/ 1198104 w 1950394"/>
                <a:gd name="connsiteY197" fmla="*/ 1613977 h 195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</a:cxnLst>
              <a:rect l="l" t="t" r="r" b="b"/>
              <a:pathLst>
                <a:path w="1950394" h="1950394">
                  <a:moveTo>
                    <a:pt x="977265" y="1954006"/>
                  </a:moveTo>
                  <a:cubicBezTo>
                    <a:pt x="444261" y="1950394"/>
                    <a:pt x="1552" y="1529873"/>
                    <a:pt x="4" y="977261"/>
                  </a:cubicBezTo>
                  <a:cubicBezTo>
                    <a:pt x="-1544" y="439613"/>
                    <a:pt x="427749" y="0"/>
                    <a:pt x="976749" y="0"/>
                  </a:cubicBezTo>
                  <a:cubicBezTo>
                    <a:pt x="1519041" y="0"/>
                    <a:pt x="1952978" y="432905"/>
                    <a:pt x="1953494" y="976229"/>
                  </a:cubicBezTo>
                  <a:cubicBezTo>
                    <a:pt x="1953494" y="1512846"/>
                    <a:pt x="1525749" y="1948330"/>
                    <a:pt x="977265" y="1954006"/>
                  </a:cubicBezTo>
                  <a:close/>
                  <a:moveTo>
                    <a:pt x="1198104" y="1613977"/>
                  </a:moveTo>
                  <a:cubicBezTo>
                    <a:pt x="1198104" y="1578891"/>
                    <a:pt x="1194492" y="1586630"/>
                    <a:pt x="1221839" y="1574763"/>
                  </a:cubicBezTo>
                  <a:cubicBezTo>
                    <a:pt x="1228030" y="1572183"/>
                    <a:pt x="1234738" y="1569603"/>
                    <a:pt x="1240930" y="1566507"/>
                  </a:cubicBezTo>
                  <a:cubicBezTo>
                    <a:pt x="1247637" y="1562896"/>
                    <a:pt x="1252797" y="1563927"/>
                    <a:pt x="1257957" y="1569603"/>
                  </a:cubicBezTo>
                  <a:cubicBezTo>
                    <a:pt x="1272920" y="1586630"/>
                    <a:pt x="1290464" y="1602110"/>
                    <a:pt x="1298203" y="1624297"/>
                  </a:cubicBezTo>
                  <a:cubicBezTo>
                    <a:pt x="1300783" y="1631520"/>
                    <a:pt x="1304395" y="1633068"/>
                    <a:pt x="1311619" y="1629456"/>
                  </a:cubicBezTo>
                  <a:cubicBezTo>
                    <a:pt x="1333290" y="1618105"/>
                    <a:pt x="1354445" y="1605722"/>
                    <a:pt x="1375084" y="1592822"/>
                  </a:cubicBezTo>
                  <a:cubicBezTo>
                    <a:pt x="1382824" y="1588178"/>
                    <a:pt x="1381791" y="1584051"/>
                    <a:pt x="1377148" y="1578891"/>
                  </a:cubicBezTo>
                  <a:cubicBezTo>
                    <a:pt x="1361152" y="1560832"/>
                    <a:pt x="1356509" y="1537613"/>
                    <a:pt x="1349285" y="1515426"/>
                  </a:cubicBezTo>
                  <a:cubicBezTo>
                    <a:pt x="1347221" y="1509750"/>
                    <a:pt x="1348253" y="1505622"/>
                    <a:pt x="1353413" y="1502010"/>
                  </a:cubicBezTo>
                  <a:cubicBezTo>
                    <a:pt x="1364248" y="1493754"/>
                    <a:pt x="1375600" y="1485499"/>
                    <a:pt x="1385919" y="1476727"/>
                  </a:cubicBezTo>
                  <a:cubicBezTo>
                    <a:pt x="1391079" y="1472600"/>
                    <a:pt x="1395723" y="1473115"/>
                    <a:pt x="1400883" y="1476727"/>
                  </a:cubicBezTo>
                  <a:cubicBezTo>
                    <a:pt x="1419458" y="1489111"/>
                    <a:pt x="1440097" y="1498914"/>
                    <a:pt x="1452996" y="1518005"/>
                  </a:cubicBezTo>
                  <a:cubicBezTo>
                    <a:pt x="1457640" y="1525229"/>
                    <a:pt x="1463316" y="1525745"/>
                    <a:pt x="1470024" y="1519553"/>
                  </a:cubicBezTo>
                  <a:cubicBezTo>
                    <a:pt x="1487051" y="1503558"/>
                    <a:pt x="1503562" y="1487047"/>
                    <a:pt x="1519041" y="1470535"/>
                  </a:cubicBezTo>
                  <a:cubicBezTo>
                    <a:pt x="1525233" y="1464344"/>
                    <a:pt x="1525749" y="1458668"/>
                    <a:pt x="1518010" y="1453508"/>
                  </a:cubicBezTo>
                  <a:cubicBezTo>
                    <a:pt x="1498402" y="1440093"/>
                    <a:pt x="1488599" y="1418938"/>
                    <a:pt x="1475699" y="1400363"/>
                  </a:cubicBezTo>
                  <a:cubicBezTo>
                    <a:pt x="1472088" y="1395203"/>
                    <a:pt x="1472088" y="1391075"/>
                    <a:pt x="1476215" y="1386431"/>
                  </a:cubicBezTo>
                  <a:cubicBezTo>
                    <a:pt x="1484987" y="1375596"/>
                    <a:pt x="1493243" y="1364760"/>
                    <a:pt x="1501498" y="1353925"/>
                  </a:cubicBezTo>
                  <a:cubicBezTo>
                    <a:pt x="1505626" y="1348249"/>
                    <a:pt x="1510270" y="1348249"/>
                    <a:pt x="1515946" y="1349797"/>
                  </a:cubicBezTo>
                  <a:cubicBezTo>
                    <a:pt x="1538133" y="1357020"/>
                    <a:pt x="1560836" y="1362180"/>
                    <a:pt x="1579411" y="1377660"/>
                  </a:cubicBezTo>
                  <a:cubicBezTo>
                    <a:pt x="1584571" y="1382303"/>
                    <a:pt x="1588182" y="1382303"/>
                    <a:pt x="1592310" y="1375596"/>
                  </a:cubicBezTo>
                  <a:cubicBezTo>
                    <a:pt x="1605210" y="1354441"/>
                    <a:pt x="1617593" y="1333801"/>
                    <a:pt x="1628945" y="1312130"/>
                  </a:cubicBezTo>
                  <a:cubicBezTo>
                    <a:pt x="1632557" y="1304907"/>
                    <a:pt x="1631009" y="1300779"/>
                    <a:pt x="1623785" y="1298199"/>
                  </a:cubicBezTo>
                  <a:cubicBezTo>
                    <a:pt x="1605726" y="1291491"/>
                    <a:pt x="1591794" y="1278592"/>
                    <a:pt x="1577863" y="1265692"/>
                  </a:cubicBezTo>
                  <a:cubicBezTo>
                    <a:pt x="1560320" y="1248665"/>
                    <a:pt x="1560836" y="1253309"/>
                    <a:pt x="1571155" y="1230090"/>
                  </a:cubicBezTo>
                  <a:cubicBezTo>
                    <a:pt x="1574251" y="1222866"/>
                    <a:pt x="1577347" y="1215643"/>
                    <a:pt x="1579927" y="1208419"/>
                  </a:cubicBezTo>
                  <a:cubicBezTo>
                    <a:pt x="1582507" y="1200163"/>
                    <a:pt x="1587667" y="1197583"/>
                    <a:pt x="1596438" y="1197583"/>
                  </a:cubicBezTo>
                  <a:cubicBezTo>
                    <a:pt x="1618625" y="1198100"/>
                    <a:pt x="1640296" y="1197583"/>
                    <a:pt x="1660935" y="1207387"/>
                  </a:cubicBezTo>
                  <a:cubicBezTo>
                    <a:pt x="1668159" y="1210483"/>
                    <a:pt x="1672287" y="1209967"/>
                    <a:pt x="1675383" y="1201195"/>
                  </a:cubicBezTo>
                  <a:cubicBezTo>
                    <a:pt x="1682090" y="1178492"/>
                    <a:pt x="1688282" y="1155789"/>
                    <a:pt x="1693442" y="1132570"/>
                  </a:cubicBezTo>
                  <a:cubicBezTo>
                    <a:pt x="1695506" y="1123283"/>
                    <a:pt x="1692926" y="1119671"/>
                    <a:pt x="1684154" y="1119155"/>
                  </a:cubicBezTo>
                  <a:cubicBezTo>
                    <a:pt x="1660935" y="1117091"/>
                    <a:pt x="1641328" y="1104192"/>
                    <a:pt x="1621205" y="1093872"/>
                  </a:cubicBezTo>
                  <a:cubicBezTo>
                    <a:pt x="1616561" y="1091808"/>
                    <a:pt x="1613465" y="1088712"/>
                    <a:pt x="1614497" y="1083037"/>
                  </a:cubicBezTo>
                  <a:cubicBezTo>
                    <a:pt x="1616561" y="1069621"/>
                    <a:pt x="1618625" y="1055690"/>
                    <a:pt x="1620173" y="1042274"/>
                  </a:cubicBezTo>
                  <a:cubicBezTo>
                    <a:pt x="1621205" y="1034535"/>
                    <a:pt x="1625333" y="1031439"/>
                    <a:pt x="1632557" y="1029891"/>
                  </a:cubicBezTo>
                  <a:cubicBezTo>
                    <a:pt x="1653712" y="1025763"/>
                    <a:pt x="1673835" y="1018539"/>
                    <a:pt x="1696022" y="1022667"/>
                  </a:cubicBezTo>
                  <a:cubicBezTo>
                    <a:pt x="1704793" y="1024215"/>
                    <a:pt x="1708921" y="1020603"/>
                    <a:pt x="1709437" y="1010800"/>
                  </a:cubicBezTo>
                  <a:cubicBezTo>
                    <a:pt x="1710469" y="988612"/>
                    <a:pt x="1710985" y="966426"/>
                    <a:pt x="1709437" y="943723"/>
                  </a:cubicBezTo>
                  <a:cubicBezTo>
                    <a:pt x="1708921" y="933403"/>
                    <a:pt x="1704793" y="929791"/>
                    <a:pt x="1694990" y="931339"/>
                  </a:cubicBezTo>
                  <a:cubicBezTo>
                    <a:pt x="1680026" y="933919"/>
                    <a:pt x="1665063" y="931855"/>
                    <a:pt x="1650616" y="928243"/>
                  </a:cubicBezTo>
                  <a:cubicBezTo>
                    <a:pt x="1619141" y="919988"/>
                    <a:pt x="1621205" y="928243"/>
                    <a:pt x="1618109" y="892125"/>
                  </a:cubicBezTo>
                  <a:cubicBezTo>
                    <a:pt x="1617593" y="885933"/>
                    <a:pt x="1616561" y="880257"/>
                    <a:pt x="1615013" y="874582"/>
                  </a:cubicBezTo>
                  <a:cubicBezTo>
                    <a:pt x="1612949" y="866842"/>
                    <a:pt x="1616561" y="862714"/>
                    <a:pt x="1622753" y="859102"/>
                  </a:cubicBezTo>
                  <a:cubicBezTo>
                    <a:pt x="1642876" y="849299"/>
                    <a:pt x="1661967" y="836915"/>
                    <a:pt x="1684670" y="834851"/>
                  </a:cubicBezTo>
                  <a:cubicBezTo>
                    <a:pt x="1692410" y="834335"/>
                    <a:pt x="1696022" y="830724"/>
                    <a:pt x="1693442" y="821952"/>
                  </a:cubicBezTo>
                  <a:cubicBezTo>
                    <a:pt x="1687766" y="799249"/>
                    <a:pt x="1682090" y="776030"/>
                    <a:pt x="1674867" y="753327"/>
                  </a:cubicBezTo>
                  <a:cubicBezTo>
                    <a:pt x="1671771" y="744039"/>
                    <a:pt x="1667643" y="743007"/>
                    <a:pt x="1659903" y="746619"/>
                  </a:cubicBezTo>
                  <a:cubicBezTo>
                    <a:pt x="1638748" y="756423"/>
                    <a:pt x="1616561" y="755907"/>
                    <a:pt x="1594374" y="756423"/>
                  </a:cubicBezTo>
                  <a:cubicBezTo>
                    <a:pt x="1587667" y="756423"/>
                    <a:pt x="1583023" y="754359"/>
                    <a:pt x="1580443" y="747651"/>
                  </a:cubicBezTo>
                  <a:cubicBezTo>
                    <a:pt x="1575799" y="735784"/>
                    <a:pt x="1571155" y="724432"/>
                    <a:pt x="1565995" y="713081"/>
                  </a:cubicBezTo>
                  <a:cubicBezTo>
                    <a:pt x="1562900" y="705857"/>
                    <a:pt x="1564448" y="701213"/>
                    <a:pt x="1570123" y="696054"/>
                  </a:cubicBezTo>
                  <a:cubicBezTo>
                    <a:pt x="1586635" y="681090"/>
                    <a:pt x="1602114" y="664579"/>
                    <a:pt x="1623269" y="656323"/>
                  </a:cubicBezTo>
                  <a:cubicBezTo>
                    <a:pt x="1631009" y="653227"/>
                    <a:pt x="1632557" y="649616"/>
                    <a:pt x="1628429" y="641876"/>
                  </a:cubicBezTo>
                  <a:cubicBezTo>
                    <a:pt x="1617077" y="620721"/>
                    <a:pt x="1605210" y="599566"/>
                    <a:pt x="1592310" y="579443"/>
                  </a:cubicBezTo>
                  <a:cubicBezTo>
                    <a:pt x="1587667" y="572219"/>
                    <a:pt x="1584055" y="572219"/>
                    <a:pt x="1578379" y="576863"/>
                  </a:cubicBezTo>
                  <a:cubicBezTo>
                    <a:pt x="1564963" y="587698"/>
                    <a:pt x="1548968" y="594406"/>
                    <a:pt x="1532457" y="599050"/>
                  </a:cubicBezTo>
                  <a:cubicBezTo>
                    <a:pt x="1499950" y="607821"/>
                    <a:pt x="1510270" y="610917"/>
                    <a:pt x="1490147" y="585118"/>
                  </a:cubicBezTo>
                  <a:cubicBezTo>
                    <a:pt x="1486019" y="579443"/>
                    <a:pt x="1481891" y="574283"/>
                    <a:pt x="1477247" y="569123"/>
                  </a:cubicBezTo>
                  <a:cubicBezTo>
                    <a:pt x="1472088" y="563447"/>
                    <a:pt x="1472088" y="558288"/>
                    <a:pt x="1476731" y="552096"/>
                  </a:cubicBezTo>
                  <a:cubicBezTo>
                    <a:pt x="1489115" y="533521"/>
                    <a:pt x="1498918" y="513397"/>
                    <a:pt x="1518525" y="499982"/>
                  </a:cubicBezTo>
                  <a:cubicBezTo>
                    <a:pt x="1525233" y="495338"/>
                    <a:pt x="1525233" y="490178"/>
                    <a:pt x="1519557" y="483987"/>
                  </a:cubicBezTo>
                  <a:cubicBezTo>
                    <a:pt x="1503562" y="466960"/>
                    <a:pt x="1487051" y="450448"/>
                    <a:pt x="1470540" y="434453"/>
                  </a:cubicBezTo>
                  <a:cubicBezTo>
                    <a:pt x="1463316" y="427745"/>
                    <a:pt x="1458156" y="428261"/>
                    <a:pt x="1452480" y="436001"/>
                  </a:cubicBezTo>
                  <a:cubicBezTo>
                    <a:pt x="1443709" y="448384"/>
                    <a:pt x="1431841" y="457672"/>
                    <a:pt x="1418942" y="465412"/>
                  </a:cubicBezTo>
                  <a:cubicBezTo>
                    <a:pt x="1393143" y="481407"/>
                    <a:pt x="1393143" y="481407"/>
                    <a:pt x="1369408" y="463348"/>
                  </a:cubicBezTo>
                  <a:cubicBezTo>
                    <a:pt x="1364764" y="459736"/>
                    <a:pt x="1360121" y="455608"/>
                    <a:pt x="1354961" y="452512"/>
                  </a:cubicBezTo>
                  <a:cubicBezTo>
                    <a:pt x="1348253" y="448384"/>
                    <a:pt x="1347221" y="443225"/>
                    <a:pt x="1349801" y="436001"/>
                  </a:cubicBezTo>
                  <a:cubicBezTo>
                    <a:pt x="1357025" y="414330"/>
                    <a:pt x="1361668" y="391627"/>
                    <a:pt x="1377148" y="374084"/>
                  </a:cubicBezTo>
                  <a:cubicBezTo>
                    <a:pt x="1382307" y="368408"/>
                    <a:pt x="1381276" y="364280"/>
                    <a:pt x="1374052" y="360152"/>
                  </a:cubicBezTo>
                  <a:cubicBezTo>
                    <a:pt x="1353929" y="347769"/>
                    <a:pt x="1333806" y="335385"/>
                    <a:pt x="1312651" y="324550"/>
                  </a:cubicBezTo>
                  <a:cubicBezTo>
                    <a:pt x="1304911" y="320422"/>
                    <a:pt x="1299751" y="320422"/>
                    <a:pt x="1296655" y="329193"/>
                  </a:cubicBezTo>
                  <a:cubicBezTo>
                    <a:pt x="1288916" y="350865"/>
                    <a:pt x="1271888" y="365828"/>
                    <a:pt x="1256925" y="382855"/>
                  </a:cubicBezTo>
                  <a:cubicBezTo>
                    <a:pt x="1251249" y="389047"/>
                    <a:pt x="1246090" y="389563"/>
                    <a:pt x="1238866" y="386467"/>
                  </a:cubicBezTo>
                  <a:cubicBezTo>
                    <a:pt x="1228546" y="381307"/>
                    <a:pt x="1217711" y="377179"/>
                    <a:pt x="1206875" y="373052"/>
                  </a:cubicBezTo>
                  <a:cubicBezTo>
                    <a:pt x="1199136" y="370472"/>
                    <a:pt x="1196556" y="365312"/>
                    <a:pt x="1196556" y="357572"/>
                  </a:cubicBezTo>
                  <a:cubicBezTo>
                    <a:pt x="1197072" y="335385"/>
                    <a:pt x="1196556" y="313714"/>
                    <a:pt x="1206359" y="293075"/>
                  </a:cubicBezTo>
                  <a:cubicBezTo>
                    <a:pt x="1209971" y="285335"/>
                    <a:pt x="1208939" y="280692"/>
                    <a:pt x="1199652" y="278112"/>
                  </a:cubicBezTo>
                  <a:cubicBezTo>
                    <a:pt x="1176949" y="271404"/>
                    <a:pt x="1154246" y="265212"/>
                    <a:pt x="1131027" y="259537"/>
                  </a:cubicBezTo>
                  <a:cubicBezTo>
                    <a:pt x="1122255" y="257473"/>
                    <a:pt x="1119159" y="260569"/>
                    <a:pt x="1118127" y="268308"/>
                  </a:cubicBezTo>
                  <a:cubicBezTo>
                    <a:pt x="1116063" y="291527"/>
                    <a:pt x="1103164" y="311134"/>
                    <a:pt x="1093360" y="331258"/>
                  </a:cubicBezTo>
                  <a:cubicBezTo>
                    <a:pt x="1090780" y="336933"/>
                    <a:pt x="1086653" y="339513"/>
                    <a:pt x="1079945" y="338481"/>
                  </a:cubicBezTo>
                  <a:cubicBezTo>
                    <a:pt x="1067561" y="336417"/>
                    <a:pt x="1055178" y="334869"/>
                    <a:pt x="1042794" y="333837"/>
                  </a:cubicBezTo>
                  <a:cubicBezTo>
                    <a:pt x="1034539" y="332805"/>
                    <a:pt x="1029895" y="329193"/>
                    <a:pt x="1028347" y="320422"/>
                  </a:cubicBezTo>
                  <a:cubicBezTo>
                    <a:pt x="1024735" y="299783"/>
                    <a:pt x="1016996" y="279660"/>
                    <a:pt x="1021123" y="257989"/>
                  </a:cubicBezTo>
                  <a:cubicBezTo>
                    <a:pt x="1022671" y="248701"/>
                    <a:pt x="1019059" y="244057"/>
                    <a:pt x="1008740" y="243541"/>
                  </a:cubicBezTo>
                  <a:cubicBezTo>
                    <a:pt x="986553" y="242509"/>
                    <a:pt x="964366" y="242509"/>
                    <a:pt x="941663" y="243541"/>
                  </a:cubicBezTo>
                  <a:cubicBezTo>
                    <a:pt x="931859" y="244057"/>
                    <a:pt x="928247" y="248185"/>
                    <a:pt x="929795" y="256957"/>
                  </a:cubicBezTo>
                  <a:cubicBezTo>
                    <a:pt x="933923" y="279144"/>
                    <a:pt x="926184" y="299267"/>
                    <a:pt x="922572" y="320422"/>
                  </a:cubicBezTo>
                  <a:cubicBezTo>
                    <a:pt x="921024" y="328678"/>
                    <a:pt x="916896" y="332290"/>
                    <a:pt x="909156" y="333321"/>
                  </a:cubicBezTo>
                  <a:cubicBezTo>
                    <a:pt x="896773" y="334869"/>
                    <a:pt x="884389" y="335901"/>
                    <a:pt x="872006" y="337965"/>
                  </a:cubicBezTo>
                  <a:cubicBezTo>
                    <a:pt x="864782" y="339513"/>
                    <a:pt x="860654" y="336933"/>
                    <a:pt x="857559" y="330226"/>
                  </a:cubicBezTo>
                  <a:cubicBezTo>
                    <a:pt x="847755" y="310102"/>
                    <a:pt x="835371" y="291527"/>
                    <a:pt x="833308" y="268308"/>
                  </a:cubicBezTo>
                  <a:cubicBezTo>
                    <a:pt x="832276" y="259537"/>
                    <a:pt x="828664" y="256957"/>
                    <a:pt x="819892" y="259021"/>
                  </a:cubicBezTo>
                  <a:cubicBezTo>
                    <a:pt x="797705" y="264180"/>
                    <a:pt x="775518" y="269856"/>
                    <a:pt x="753847" y="276564"/>
                  </a:cubicBezTo>
                  <a:cubicBezTo>
                    <a:pt x="744044" y="279660"/>
                    <a:pt x="740948" y="283272"/>
                    <a:pt x="745591" y="293075"/>
                  </a:cubicBezTo>
                  <a:cubicBezTo>
                    <a:pt x="751783" y="308039"/>
                    <a:pt x="754879" y="323518"/>
                    <a:pt x="754879" y="339513"/>
                  </a:cubicBezTo>
                  <a:cubicBezTo>
                    <a:pt x="754879" y="367892"/>
                    <a:pt x="755395" y="367892"/>
                    <a:pt x="728564" y="378728"/>
                  </a:cubicBezTo>
                  <a:cubicBezTo>
                    <a:pt x="722888" y="380791"/>
                    <a:pt x="717213" y="383371"/>
                    <a:pt x="712053" y="385951"/>
                  </a:cubicBezTo>
                  <a:cubicBezTo>
                    <a:pt x="705345" y="389563"/>
                    <a:pt x="700185" y="388531"/>
                    <a:pt x="695026" y="382855"/>
                  </a:cubicBezTo>
                  <a:cubicBezTo>
                    <a:pt x="679546" y="365828"/>
                    <a:pt x="662519" y="350349"/>
                    <a:pt x="654779" y="328161"/>
                  </a:cubicBezTo>
                  <a:cubicBezTo>
                    <a:pt x="652200" y="320938"/>
                    <a:pt x="648588" y="319390"/>
                    <a:pt x="641364" y="323002"/>
                  </a:cubicBezTo>
                  <a:cubicBezTo>
                    <a:pt x="619693" y="334353"/>
                    <a:pt x="598538" y="346737"/>
                    <a:pt x="577899" y="359636"/>
                  </a:cubicBezTo>
                  <a:cubicBezTo>
                    <a:pt x="571707" y="363248"/>
                    <a:pt x="570159" y="366860"/>
                    <a:pt x="574803" y="372536"/>
                  </a:cubicBezTo>
                  <a:cubicBezTo>
                    <a:pt x="590798" y="390595"/>
                    <a:pt x="595958" y="413298"/>
                    <a:pt x="602666" y="435485"/>
                  </a:cubicBezTo>
                  <a:cubicBezTo>
                    <a:pt x="604730" y="442193"/>
                    <a:pt x="604214" y="446836"/>
                    <a:pt x="598022" y="450964"/>
                  </a:cubicBezTo>
                  <a:cubicBezTo>
                    <a:pt x="587702" y="458188"/>
                    <a:pt x="577383" y="466444"/>
                    <a:pt x="567579" y="474699"/>
                  </a:cubicBezTo>
                  <a:cubicBezTo>
                    <a:pt x="561388" y="479859"/>
                    <a:pt x="556744" y="478827"/>
                    <a:pt x="550552" y="474699"/>
                  </a:cubicBezTo>
                  <a:cubicBezTo>
                    <a:pt x="531977" y="462316"/>
                    <a:pt x="511854" y="451996"/>
                    <a:pt x="498438" y="432905"/>
                  </a:cubicBezTo>
                  <a:cubicBezTo>
                    <a:pt x="494310" y="426713"/>
                    <a:pt x="489151" y="426197"/>
                    <a:pt x="483475" y="431357"/>
                  </a:cubicBezTo>
                  <a:cubicBezTo>
                    <a:pt x="465932" y="447352"/>
                    <a:pt x="448904" y="464895"/>
                    <a:pt x="432393" y="482439"/>
                  </a:cubicBezTo>
                  <a:cubicBezTo>
                    <a:pt x="427233" y="488114"/>
                    <a:pt x="426717" y="493274"/>
                    <a:pt x="433425" y="497402"/>
                  </a:cubicBezTo>
                  <a:cubicBezTo>
                    <a:pt x="453032" y="510818"/>
                    <a:pt x="462836" y="531457"/>
                    <a:pt x="475735" y="550032"/>
                  </a:cubicBezTo>
                  <a:cubicBezTo>
                    <a:pt x="479863" y="555708"/>
                    <a:pt x="479863" y="560867"/>
                    <a:pt x="475219" y="566027"/>
                  </a:cubicBezTo>
                  <a:cubicBezTo>
                    <a:pt x="466964" y="576347"/>
                    <a:pt x="458708" y="587182"/>
                    <a:pt x="450968" y="597502"/>
                  </a:cubicBezTo>
                  <a:cubicBezTo>
                    <a:pt x="447357" y="602146"/>
                    <a:pt x="443745" y="603694"/>
                    <a:pt x="437553" y="601629"/>
                  </a:cubicBezTo>
                  <a:cubicBezTo>
                    <a:pt x="414850" y="594406"/>
                    <a:pt x="391631" y="589246"/>
                    <a:pt x="373056" y="573251"/>
                  </a:cubicBezTo>
                  <a:cubicBezTo>
                    <a:pt x="367896" y="568607"/>
                    <a:pt x="363768" y="568607"/>
                    <a:pt x="360156" y="575315"/>
                  </a:cubicBezTo>
                  <a:cubicBezTo>
                    <a:pt x="347257" y="596470"/>
                    <a:pt x="334358" y="617109"/>
                    <a:pt x="323522" y="638780"/>
                  </a:cubicBezTo>
                  <a:cubicBezTo>
                    <a:pt x="319910" y="646004"/>
                    <a:pt x="320942" y="650131"/>
                    <a:pt x="328166" y="652711"/>
                  </a:cubicBezTo>
                  <a:cubicBezTo>
                    <a:pt x="346225" y="659419"/>
                    <a:pt x="360672" y="672318"/>
                    <a:pt x="374088" y="685218"/>
                  </a:cubicBezTo>
                  <a:cubicBezTo>
                    <a:pt x="392147" y="702245"/>
                    <a:pt x="391115" y="698117"/>
                    <a:pt x="380795" y="720820"/>
                  </a:cubicBezTo>
                  <a:cubicBezTo>
                    <a:pt x="377700" y="728044"/>
                    <a:pt x="374604" y="735268"/>
                    <a:pt x="372024" y="742492"/>
                  </a:cubicBezTo>
                  <a:cubicBezTo>
                    <a:pt x="369444" y="750747"/>
                    <a:pt x="364284" y="753327"/>
                    <a:pt x="355513" y="753327"/>
                  </a:cubicBezTo>
                  <a:cubicBezTo>
                    <a:pt x="333326" y="752811"/>
                    <a:pt x="311655" y="753327"/>
                    <a:pt x="291015" y="743523"/>
                  </a:cubicBezTo>
                  <a:cubicBezTo>
                    <a:pt x="282760" y="739396"/>
                    <a:pt x="279148" y="742492"/>
                    <a:pt x="276568" y="751263"/>
                  </a:cubicBezTo>
                  <a:cubicBezTo>
                    <a:pt x="269860" y="773450"/>
                    <a:pt x="264185" y="796153"/>
                    <a:pt x="258509" y="818340"/>
                  </a:cubicBezTo>
                  <a:cubicBezTo>
                    <a:pt x="256445" y="827628"/>
                    <a:pt x="259025" y="831239"/>
                    <a:pt x="267796" y="831756"/>
                  </a:cubicBezTo>
                  <a:cubicBezTo>
                    <a:pt x="291015" y="833819"/>
                    <a:pt x="310623" y="846719"/>
                    <a:pt x="330746" y="857038"/>
                  </a:cubicBezTo>
                  <a:cubicBezTo>
                    <a:pt x="335905" y="859618"/>
                    <a:pt x="338485" y="863230"/>
                    <a:pt x="337453" y="869422"/>
                  </a:cubicBezTo>
                  <a:cubicBezTo>
                    <a:pt x="335389" y="881805"/>
                    <a:pt x="333842" y="894189"/>
                    <a:pt x="332810" y="906572"/>
                  </a:cubicBezTo>
                  <a:cubicBezTo>
                    <a:pt x="331778" y="915344"/>
                    <a:pt x="328166" y="919988"/>
                    <a:pt x="318878" y="922052"/>
                  </a:cubicBezTo>
                  <a:cubicBezTo>
                    <a:pt x="298239" y="925664"/>
                    <a:pt x="278116" y="932887"/>
                    <a:pt x="256445" y="929275"/>
                  </a:cubicBezTo>
                  <a:cubicBezTo>
                    <a:pt x="246125" y="927211"/>
                    <a:pt x="243029" y="932371"/>
                    <a:pt x="242514" y="942175"/>
                  </a:cubicBezTo>
                  <a:cubicBezTo>
                    <a:pt x="241482" y="963846"/>
                    <a:pt x="241482" y="985001"/>
                    <a:pt x="242514" y="1006672"/>
                  </a:cubicBezTo>
                  <a:cubicBezTo>
                    <a:pt x="243029" y="1018023"/>
                    <a:pt x="247157" y="1022667"/>
                    <a:pt x="257993" y="1020603"/>
                  </a:cubicBezTo>
                  <a:cubicBezTo>
                    <a:pt x="280180" y="1016475"/>
                    <a:pt x="300303" y="1024731"/>
                    <a:pt x="321458" y="1028343"/>
                  </a:cubicBezTo>
                  <a:cubicBezTo>
                    <a:pt x="327650" y="1029375"/>
                    <a:pt x="331262" y="1032987"/>
                    <a:pt x="331778" y="1039694"/>
                  </a:cubicBezTo>
                  <a:cubicBezTo>
                    <a:pt x="333326" y="1052594"/>
                    <a:pt x="334358" y="1065493"/>
                    <a:pt x="336937" y="1077877"/>
                  </a:cubicBezTo>
                  <a:cubicBezTo>
                    <a:pt x="338485" y="1085617"/>
                    <a:pt x="335905" y="1089744"/>
                    <a:pt x="329198" y="1093356"/>
                  </a:cubicBezTo>
                  <a:cubicBezTo>
                    <a:pt x="309075" y="1103676"/>
                    <a:pt x="289467" y="1115543"/>
                    <a:pt x="265733" y="1117607"/>
                  </a:cubicBezTo>
                  <a:cubicBezTo>
                    <a:pt x="257993" y="1118123"/>
                    <a:pt x="255929" y="1122251"/>
                    <a:pt x="257993" y="1129990"/>
                  </a:cubicBezTo>
                  <a:cubicBezTo>
                    <a:pt x="263669" y="1153209"/>
                    <a:pt x="269344" y="1175913"/>
                    <a:pt x="276568" y="1198615"/>
                  </a:cubicBezTo>
                  <a:cubicBezTo>
                    <a:pt x="279148" y="1207903"/>
                    <a:pt x="283276" y="1209451"/>
                    <a:pt x="291531" y="1205839"/>
                  </a:cubicBezTo>
                  <a:cubicBezTo>
                    <a:pt x="308559" y="1198100"/>
                    <a:pt x="327134" y="1196035"/>
                    <a:pt x="345709" y="1196035"/>
                  </a:cubicBezTo>
                  <a:cubicBezTo>
                    <a:pt x="371508" y="1196035"/>
                    <a:pt x="366348" y="1193456"/>
                    <a:pt x="375636" y="1216675"/>
                  </a:cubicBezTo>
                  <a:cubicBezTo>
                    <a:pt x="378216" y="1223382"/>
                    <a:pt x="380795" y="1230606"/>
                    <a:pt x="384407" y="1236798"/>
                  </a:cubicBezTo>
                  <a:cubicBezTo>
                    <a:pt x="389051" y="1245569"/>
                    <a:pt x="386987" y="1251761"/>
                    <a:pt x="379764" y="1257953"/>
                  </a:cubicBezTo>
                  <a:cubicBezTo>
                    <a:pt x="363252" y="1272400"/>
                    <a:pt x="348289" y="1288396"/>
                    <a:pt x="327134" y="1296651"/>
                  </a:cubicBezTo>
                  <a:cubicBezTo>
                    <a:pt x="319394" y="1299231"/>
                    <a:pt x="319394" y="1303875"/>
                    <a:pt x="322490" y="1310583"/>
                  </a:cubicBezTo>
                  <a:cubicBezTo>
                    <a:pt x="333842" y="1332254"/>
                    <a:pt x="346225" y="1353409"/>
                    <a:pt x="359124" y="1374048"/>
                  </a:cubicBezTo>
                  <a:cubicBezTo>
                    <a:pt x="362736" y="1379724"/>
                    <a:pt x="365832" y="1380755"/>
                    <a:pt x="370992" y="1376628"/>
                  </a:cubicBezTo>
                  <a:cubicBezTo>
                    <a:pt x="389051" y="1361148"/>
                    <a:pt x="412270" y="1355988"/>
                    <a:pt x="433941" y="1348765"/>
                  </a:cubicBezTo>
                  <a:cubicBezTo>
                    <a:pt x="441165" y="1346185"/>
                    <a:pt x="445809" y="1347217"/>
                    <a:pt x="450452" y="1353925"/>
                  </a:cubicBezTo>
                  <a:cubicBezTo>
                    <a:pt x="457676" y="1364760"/>
                    <a:pt x="465932" y="1374564"/>
                    <a:pt x="474187" y="1384367"/>
                  </a:cubicBezTo>
                  <a:cubicBezTo>
                    <a:pt x="478315" y="1389527"/>
                    <a:pt x="478831" y="1393655"/>
                    <a:pt x="475219" y="1399331"/>
                  </a:cubicBezTo>
                  <a:cubicBezTo>
                    <a:pt x="462320" y="1417906"/>
                    <a:pt x="452516" y="1439061"/>
                    <a:pt x="432909" y="1452476"/>
                  </a:cubicBezTo>
                  <a:cubicBezTo>
                    <a:pt x="426201" y="1457120"/>
                    <a:pt x="425685" y="1461764"/>
                    <a:pt x="431877" y="1468471"/>
                  </a:cubicBezTo>
                  <a:cubicBezTo>
                    <a:pt x="447873" y="1486015"/>
                    <a:pt x="464384" y="1502526"/>
                    <a:pt x="481927" y="1518521"/>
                  </a:cubicBezTo>
                  <a:cubicBezTo>
                    <a:pt x="488119" y="1524197"/>
                    <a:pt x="493279" y="1524197"/>
                    <a:pt x="497922" y="1517489"/>
                  </a:cubicBezTo>
                  <a:cubicBezTo>
                    <a:pt x="510822" y="1498398"/>
                    <a:pt x="531461" y="1488595"/>
                    <a:pt x="550036" y="1475695"/>
                  </a:cubicBezTo>
                  <a:cubicBezTo>
                    <a:pt x="556228" y="1471568"/>
                    <a:pt x="561388" y="1471568"/>
                    <a:pt x="567063" y="1476211"/>
                  </a:cubicBezTo>
                  <a:cubicBezTo>
                    <a:pt x="576867" y="1483951"/>
                    <a:pt x="586670" y="1491690"/>
                    <a:pt x="596474" y="1498914"/>
                  </a:cubicBezTo>
                  <a:cubicBezTo>
                    <a:pt x="602666" y="1503558"/>
                    <a:pt x="604214" y="1508202"/>
                    <a:pt x="601634" y="1515426"/>
                  </a:cubicBezTo>
                  <a:cubicBezTo>
                    <a:pt x="594926" y="1537097"/>
                    <a:pt x="589250" y="1559284"/>
                    <a:pt x="574287" y="1577343"/>
                  </a:cubicBezTo>
                  <a:cubicBezTo>
                    <a:pt x="569127" y="1583018"/>
                    <a:pt x="569643" y="1587146"/>
                    <a:pt x="576867" y="1591274"/>
                  </a:cubicBezTo>
                  <a:cubicBezTo>
                    <a:pt x="597506" y="1603658"/>
                    <a:pt x="618145" y="1616041"/>
                    <a:pt x="639300" y="1627393"/>
                  </a:cubicBezTo>
                  <a:cubicBezTo>
                    <a:pt x="647040" y="1631520"/>
                    <a:pt x="651168" y="1629973"/>
                    <a:pt x="653747" y="1622233"/>
                  </a:cubicBezTo>
                  <a:cubicBezTo>
                    <a:pt x="662003" y="1600562"/>
                    <a:pt x="678514" y="1585598"/>
                    <a:pt x="693478" y="1568571"/>
                  </a:cubicBezTo>
                  <a:cubicBezTo>
                    <a:pt x="699153" y="1562379"/>
                    <a:pt x="704313" y="1561864"/>
                    <a:pt x="711537" y="1564959"/>
                  </a:cubicBezTo>
                  <a:cubicBezTo>
                    <a:pt x="721856" y="1570119"/>
                    <a:pt x="732692" y="1574247"/>
                    <a:pt x="743528" y="1578375"/>
                  </a:cubicBezTo>
                  <a:cubicBezTo>
                    <a:pt x="751267" y="1580955"/>
                    <a:pt x="753847" y="1585598"/>
                    <a:pt x="753847" y="1593854"/>
                  </a:cubicBezTo>
                  <a:cubicBezTo>
                    <a:pt x="753331" y="1616041"/>
                    <a:pt x="753847" y="1637712"/>
                    <a:pt x="744044" y="1658351"/>
                  </a:cubicBezTo>
                  <a:cubicBezTo>
                    <a:pt x="739916" y="1667123"/>
                    <a:pt x="743012" y="1671251"/>
                    <a:pt x="752299" y="1673831"/>
                  </a:cubicBezTo>
                  <a:cubicBezTo>
                    <a:pt x="773970" y="1680538"/>
                    <a:pt x="796157" y="1686214"/>
                    <a:pt x="818344" y="1691374"/>
                  </a:cubicBezTo>
                  <a:cubicBezTo>
                    <a:pt x="827116" y="1693438"/>
                    <a:pt x="831760" y="1692406"/>
                    <a:pt x="832276" y="1682602"/>
                  </a:cubicBezTo>
                  <a:cubicBezTo>
                    <a:pt x="834340" y="1659383"/>
                    <a:pt x="846723" y="1639776"/>
                    <a:pt x="857043" y="1619653"/>
                  </a:cubicBezTo>
                  <a:cubicBezTo>
                    <a:pt x="859622" y="1614493"/>
                    <a:pt x="862718" y="1611397"/>
                    <a:pt x="868910" y="1612429"/>
                  </a:cubicBezTo>
                  <a:cubicBezTo>
                    <a:pt x="881809" y="1614493"/>
                    <a:pt x="895225" y="1616041"/>
                    <a:pt x="908640" y="1617589"/>
                  </a:cubicBezTo>
                  <a:cubicBezTo>
                    <a:pt x="916896" y="1618621"/>
                    <a:pt x="920508" y="1622749"/>
                    <a:pt x="922056" y="1630488"/>
                  </a:cubicBezTo>
                  <a:cubicBezTo>
                    <a:pt x="925668" y="1651128"/>
                    <a:pt x="933407" y="1671251"/>
                    <a:pt x="929279" y="1692922"/>
                  </a:cubicBezTo>
                  <a:cubicBezTo>
                    <a:pt x="927215" y="1703757"/>
                    <a:pt x="932375" y="1706853"/>
                    <a:pt x="942695" y="1707369"/>
                  </a:cubicBezTo>
                  <a:cubicBezTo>
                    <a:pt x="964366" y="1708401"/>
                    <a:pt x="985521" y="1708401"/>
                    <a:pt x="1007192" y="1707369"/>
                  </a:cubicBezTo>
                  <a:cubicBezTo>
                    <a:pt x="1018028" y="1706853"/>
                    <a:pt x="1022155" y="1702725"/>
                    <a:pt x="1020607" y="1692406"/>
                  </a:cubicBezTo>
                  <a:cubicBezTo>
                    <a:pt x="1016480" y="1670219"/>
                    <a:pt x="1024219" y="1650096"/>
                    <a:pt x="1028347" y="1628941"/>
                  </a:cubicBezTo>
                  <a:cubicBezTo>
                    <a:pt x="1029379" y="1621717"/>
                    <a:pt x="1033507" y="1618621"/>
                    <a:pt x="1040215" y="1617589"/>
                  </a:cubicBezTo>
                  <a:cubicBezTo>
                    <a:pt x="1053114" y="1616041"/>
                    <a:pt x="1066013" y="1615009"/>
                    <a:pt x="1078397" y="1612429"/>
                  </a:cubicBezTo>
                  <a:cubicBezTo>
                    <a:pt x="1085621" y="1611397"/>
                    <a:pt x="1089748" y="1613461"/>
                    <a:pt x="1092844" y="1619653"/>
                  </a:cubicBezTo>
                  <a:cubicBezTo>
                    <a:pt x="1102648" y="1639776"/>
                    <a:pt x="1115031" y="1658351"/>
                    <a:pt x="1117095" y="1681570"/>
                  </a:cubicBezTo>
                  <a:cubicBezTo>
                    <a:pt x="1118127" y="1690342"/>
                    <a:pt x="1121739" y="1692922"/>
                    <a:pt x="1130511" y="1690858"/>
                  </a:cubicBezTo>
                  <a:cubicBezTo>
                    <a:pt x="1152698" y="1685698"/>
                    <a:pt x="1174885" y="1680022"/>
                    <a:pt x="1196556" y="1673315"/>
                  </a:cubicBezTo>
                  <a:cubicBezTo>
                    <a:pt x="1206359" y="1670219"/>
                    <a:pt x="1209455" y="1666607"/>
                    <a:pt x="1204811" y="1656803"/>
                  </a:cubicBezTo>
                  <a:cubicBezTo>
                    <a:pt x="1200168" y="1643904"/>
                    <a:pt x="1196556" y="1627393"/>
                    <a:pt x="1198104" y="1613977"/>
                  </a:cubicBezTo>
                  <a:close/>
                </a:path>
              </a:pathLst>
            </a:custGeom>
            <a:solidFill>
              <a:schemeClr val="bg1"/>
            </a:solidFill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06264" y="596604"/>
              <a:ext cx="237705" cy="236465"/>
            </a:xfrm>
            <a:custGeom>
              <a:avLst/>
              <a:gdLst>
                <a:gd name="connsiteX0" fmla="*/ 185362 w 237706"/>
                <a:gd name="connsiteY0" fmla="*/ 130458 h 236466"/>
                <a:gd name="connsiteX1" fmla="*/ 237706 w 237706"/>
                <a:gd name="connsiteY1" fmla="*/ 130458 h 236466"/>
                <a:gd name="connsiteX2" fmla="*/ 234128 w 237706"/>
                <a:gd name="connsiteY2" fmla="*/ 154126 h 236466"/>
                <a:gd name="connsiteX3" fmla="*/ 165835 w 237706"/>
                <a:gd name="connsiteY3" fmla="*/ 229449 h 236466"/>
                <a:gd name="connsiteX4" fmla="*/ 131078 w 237706"/>
                <a:gd name="connsiteY4" fmla="*/ 236466 h 236466"/>
                <a:gd name="connsiteX5" fmla="*/ 131078 w 237706"/>
                <a:gd name="connsiteY5" fmla="*/ 186008 h 236466"/>
                <a:gd name="connsiteX6" fmla="*/ 146195 w 237706"/>
                <a:gd name="connsiteY6" fmla="*/ 182956 h 236466"/>
                <a:gd name="connsiteX7" fmla="*/ 177100 w 237706"/>
                <a:gd name="connsiteY7" fmla="*/ 157507 h 236466"/>
                <a:gd name="connsiteX8" fmla="*/ 0 w 237706"/>
                <a:gd name="connsiteY8" fmla="*/ 130458 h 236466"/>
                <a:gd name="connsiteX9" fmla="*/ 52344 w 237706"/>
                <a:gd name="connsiteY9" fmla="*/ 130458 h 236466"/>
                <a:gd name="connsiteX10" fmla="*/ 60606 w 237706"/>
                <a:gd name="connsiteY10" fmla="*/ 157507 h 236466"/>
                <a:gd name="connsiteX11" fmla="*/ 91511 w 237706"/>
                <a:gd name="connsiteY11" fmla="*/ 182956 h 236466"/>
                <a:gd name="connsiteX12" fmla="*/ 106628 w 237706"/>
                <a:gd name="connsiteY12" fmla="*/ 186008 h 236466"/>
                <a:gd name="connsiteX13" fmla="*/ 106628 w 237706"/>
                <a:gd name="connsiteY13" fmla="*/ 236466 h 236466"/>
                <a:gd name="connsiteX14" fmla="*/ 71871 w 237706"/>
                <a:gd name="connsiteY14" fmla="*/ 229449 h 236466"/>
                <a:gd name="connsiteX15" fmla="*/ 3579 w 237706"/>
                <a:gd name="connsiteY15" fmla="*/ 154126 h 236466"/>
                <a:gd name="connsiteX16" fmla="*/ 131078 w 237706"/>
                <a:gd name="connsiteY16" fmla="*/ 0 h 236466"/>
                <a:gd name="connsiteX17" fmla="*/ 165835 w 237706"/>
                <a:gd name="connsiteY17" fmla="*/ 7017 h 236466"/>
                <a:gd name="connsiteX18" fmla="*/ 234128 w 237706"/>
                <a:gd name="connsiteY18" fmla="*/ 82340 h 236466"/>
                <a:gd name="connsiteX19" fmla="*/ 237706 w 237706"/>
                <a:gd name="connsiteY19" fmla="*/ 106008 h 236466"/>
                <a:gd name="connsiteX20" fmla="*/ 185362 w 237706"/>
                <a:gd name="connsiteY20" fmla="*/ 106008 h 236466"/>
                <a:gd name="connsiteX21" fmla="*/ 177100 w 237706"/>
                <a:gd name="connsiteY21" fmla="*/ 78960 h 236466"/>
                <a:gd name="connsiteX22" fmla="*/ 146195 w 237706"/>
                <a:gd name="connsiteY22" fmla="*/ 53510 h 236466"/>
                <a:gd name="connsiteX23" fmla="*/ 131078 w 237706"/>
                <a:gd name="connsiteY23" fmla="*/ 50458 h 236466"/>
                <a:gd name="connsiteX24" fmla="*/ 106628 w 237706"/>
                <a:gd name="connsiteY24" fmla="*/ 0 h 236466"/>
                <a:gd name="connsiteX25" fmla="*/ 106628 w 237706"/>
                <a:gd name="connsiteY25" fmla="*/ 50458 h 236466"/>
                <a:gd name="connsiteX26" fmla="*/ 91511 w 237706"/>
                <a:gd name="connsiteY26" fmla="*/ 53510 h 236466"/>
                <a:gd name="connsiteX27" fmla="*/ 60606 w 237706"/>
                <a:gd name="connsiteY27" fmla="*/ 78960 h 236466"/>
                <a:gd name="connsiteX28" fmla="*/ 52344 w 237706"/>
                <a:gd name="connsiteY28" fmla="*/ 106008 h 236466"/>
                <a:gd name="connsiteX29" fmla="*/ 0 w 237706"/>
                <a:gd name="connsiteY29" fmla="*/ 106008 h 236466"/>
                <a:gd name="connsiteX30" fmla="*/ 3579 w 237706"/>
                <a:gd name="connsiteY30" fmla="*/ 82340 h 236466"/>
                <a:gd name="connsiteX31" fmla="*/ 71871 w 237706"/>
                <a:gd name="connsiteY31" fmla="*/ 7017 h 23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37706" h="236466">
                  <a:moveTo>
                    <a:pt x="185362" y="130458"/>
                  </a:moveTo>
                  <a:lnTo>
                    <a:pt x="237706" y="130458"/>
                  </a:lnTo>
                  <a:lnTo>
                    <a:pt x="234128" y="154126"/>
                  </a:lnTo>
                  <a:cubicBezTo>
                    <a:pt x="223548" y="188141"/>
                    <a:pt x="198326" y="215706"/>
                    <a:pt x="165835" y="229449"/>
                  </a:cubicBezTo>
                  <a:lnTo>
                    <a:pt x="131078" y="236466"/>
                  </a:lnTo>
                  <a:lnTo>
                    <a:pt x="131078" y="186008"/>
                  </a:lnTo>
                  <a:lnTo>
                    <a:pt x="146195" y="182956"/>
                  </a:lnTo>
                  <a:cubicBezTo>
                    <a:pt x="158800" y="177624"/>
                    <a:pt x="169526" y="168717"/>
                    <a:pt x="177100" y="157507"/>
                  </a:cubicBezTo>
                  <a:close/>
                  <a:moveTo>
                    <a:pt x="0" y="130458"/>
                  </a:moveTo>
                  <a:lnTo>
                    <a:pt x="52344" y="130458"/>
                  </a:lnTo>
                  <a:lnTo>
                    <a:pt x="60606" y="157507"/>
                  </a:lnTo>
                  <a:cubicBezTo>
                    <a:pt x="68180" y="168717"/>
                    <a:pt x="78906" y="177624"/>
                    <a:pt x="91511" y="182956"/>
                  </a:cubicBezTo>
                  <a:lnTo>
                    <a:pt x="106628" y="186008"/>
                  </a:lnTo>
                  <a:lnTo>
                    <a:pt x="106628" y="236466"/>
                  </a:lnTo>
                  <a:lnTo>
                    <a:pt x="71871" y="229449"/>
                  </a:lnTo>
                  <a:cubicBezTo>
                    <a:pt x="39380" y="215706"/>
                    <a:pt x="14159" y="188141"/>
                    <a:pt x="3579" y="154126"/>
                  </a:cubicBezTo>
                  <a:close/>
                  <a:moveTo>
                    <a:pt x="131078" y="0"/>
                  </a:moveTo>
                  <a:lnTo>
                    <a:pt x="165835" y="7017"/>
                  </a:lnTo>
                  <a:cubicBezTo>
                    <a:pt x="198326" y="20760"/>
                    <a:pt x="223548" y="48325"/>
                    <a:pt x="234128" y="82340"/>
                  </a:cubicBezTo>
                  <a:lnTo>
                    <a:pt x="237706" y="106008"/>
                  </a:lnTo>
                  <a:lnTo>
                    <a:pt x="185362" y="106008"/>
                  </a:lnTo>
                  <a:lnTo>
                    <a:pt x="177100" y="78960"/>
                  </a:lnTo>
                  <a:cubicBezTo>
                    <a:pt x="169526" y="67749"/>
                    <a:pt x="158800" y="58842"/>
                    <a:pt x="146195" y="53510"/>
                  </a:cubicBezTo>
                  <a:lnTo>
                    <a:pt x="131078" y="50458"/>
                  </a:lnTo>
                  <a:close/>
                  <a:moveTo>
                    <a:pt x="106628" y="0"/>
                  </a:moveTo>
                  <a:lnTo>
                    <a:pt x="106628" y="50458"/>
                  </a:lnTo>
                  <a:lnTo>
                    <a:pt x="91511" y="53510"/>
                  </a:lnTo>
                  <a:cubicBezTo>
                    <a:pt x="78906" y="58842"/>
                    <a:pt x="68180" y="67749"/>
                    <a:pt x="60606" y="78960"/>
                  </a:cubicBezTo>
                  <a:lnTo>
                    <a:pt x="52344" y="106008"/>
                  </a:lnTo>
                  <a:lnTo>
                    <a:pt x="0" y="106008"/>
                  </a:lnTo>
                  <a:lnTo>
                    <a:pt x="3579" y="82340"/>
                  </a:lnTo>
                  <a:cubicBezTo>
                    <a:pt x="14159" y="48325"/>
                    <a:pt x="39380" y="20760"/>
                    <a:pt x="71871" y="70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385558" y="675280"/>
              <a:ext cx="79122" cy="7912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 rot="9743765" flipH="1">
            <a:off x="849043" y="392925"/>
            <a:ext cx="459928" cy="1377757"/>
            <a:chOff x="391499" y="630207"/>
            <a:chExt cx="531845" cy="1593193"/>
          </a:xfrm>
        </p:grpSpPr>
        <p:sp>
          <p:nvSpPr>
            <p:cNvPr id="48" name="Rectangle: Rounded Corners 47"/>
            <p:cNvSpPr/>
            <p:nvPr/>
          </p:nvSpPr>
          <p:spPr>
            <a:xfrm rot="20495611">
              <a:off x="400452" y="630207"/>
              <a:ext cx="522892" cy="153913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: Rounded Corners 48"/>
            <p:cNvSpPr/>
            <p:nvPr/>
          </p:nvSpPr>
          <p:spPr>
            <a:xfrm rot="20495611">
              <a:off x="391499" y="684262"/>
              <a:ext cx="191607" cy="1539138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Oval 49"/>
          <p:cNvSpPr/>
          <p:nvPr userDrawn="1"/>
        </p:nvSpPr>
        <p:spPr>
          <a:xfrm rot="10800000" flipH="1">
            <a:off x="747743" y="1420860"/>
            <a:ext cx="618628" cy="618628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: Shape 50"/>
          <p:cNvSpPr/>
          <p:nvPr userDrawn="1"/>
        </p:nvSpPr>
        <p:spPr>
          <a:xfrm rot="10800000" flipH="1">
            <a:off x="814461" y="1487577"/>
            <a:ext cx="485192" cy="485192"/>
          </a:xfrm>
          <a:custGeom>
            <a:avLst/>
            <a:gdLst>
              <a:gd name="connsiteX0" fmla="*/ 977265 w 1950394"/>
              <a:gd name="connsiteY0" fmla="*/ 1954006 h 1950394"/>
              <a:gd name="connsiteX1" fmla="*/ 4 w 1950394"/>
              <a:gd name="connsiteY1" fmla="*/ 977261 h 1950394"/>
              <a:gd name="connsiteX2" fmla="*/ 976749 w 1950394"/>
              <a:gd name="connsiteY2" fmla="*/ 0 h 1950394"/>
              <a:gd name="connsiteX3" fmla="*/ 1953494 w 1950394"/>
              <a:gd name="connsiteY3" fmla="*/ 976229 h 1950394"/>
              <a:gd name="connsiteX4" fmla="*/ 977265 w 1950394"/>
              <a:gd name="connsiteY4" fmla="*/ 1954006 h 1950394"/>
              <a:gd name="connsiteX5" fmla="*/ 1198104 w 1950394"/>
              <a:gd name="connsiteY5" fmla="*/ 1613977 h 1950394"/>
              <a:gd name="connsiteX6" fmla="*/ 1221839 w 1950394"/>
              <a:gd name="connsiteY6" fmla="*/ 1574763 h 1950394"/>
              <a:gd name="connsiteX7" fmla="*/ 1240930 w 1950394"/>
              <a:gd name="connsiteY7" fmla="*/ 1566507 h 1950394"/>
              <a:gd name="connsiteX8" fmla="*/ 1257957 w 1950394"/>
              <a:gd name="connsiteY8" fmla="*/ 1569603 h 1950394"/>
              <a:gd name="connsiteX9" fmla="*/ 1298203 w 1950394"/>
              <a:gd name="connsiteY9" fmla="*/ 1624297 h 1950394"/>
              <a:gd name="connsiteX10" fmla="*/ 1311619 w 1950394"/>
              <a:gd name="connsiteY10" fmla="*/ 1629456 h 1950394"/>
              <a:gd name="connsiteX11" fmla="*/ 1375084 w 1950394"/>
              <a:gd name="connsiteY11" fmla="*/ 1592822 h 1950394"/>
              <a:gd name="connsiteX12" fmla="*/ 1377148 w 1950394"/>
              <a:gd name="connsiteY12" fmla="*/ 1578891 h 1950394"/>
              <a:gd name="connsiteX13" fmla="*/ 1349285 w 1950394"/>
              <a:gd name="connsiteY13" fmla="*/ 1515426 h 1950394"/>
              <a:gd name="connsiteX14" fmla="*/ 1353413 w 1950394"/>
              <a:gd name="connsiteY14" fmla="*/ 1502010 h 1950394"/>
              <a:gd name="connsiteX15" fmla="*/ 1385919 w 1950394"/>
              <a:gd name="connsiteY15" fmla="*/ 1476727 h 1950394"/>
              <a:gd name="connsiteX16" fmla="*/ 1400883 w 1950394"/>
              <a:gd name="connsiteY16" fmla="*/ 1476727 h 1950394"/>
              <a:gd name="connsiteX17" fmla="*/ 1452996 w 1950394"/>
              <a:gd name="connsiteY17" fmla="*/ 1518005 h 1950394"/>
              <a:gd name="connsiteX18" fmla="*/ 1470024 w 1950394"/>
              <a:gd name="connsiteY18" fmla="*/ 1519553 h 1950394"/>
              <a:gd name="connsiteX19" fmla="*/ 1519041 w 1950394"/>
              <a:gd name="connsiteY19" fmla="*/ 1470535 h 1950394"/>
              <a:gd name="connsiteX20" fmla="*/ 1518010 w 1950394"/>
              <a:gd name="connsiteY20" fmla="*/ 1453508 h 1950394"/>
              <a:gd name="connsiteX21" fmla="*/ 1475699 w 1950394"/>
              <a:gd name="connsiteY21" fmla="*/ 1400363 h 1950394"/>
              <a:gd name="connsiteX22" fmla="*/ 1476215 w 1950394"/>
              <a:gd name="connsiteY22" fmla="*/ 1386431 h 1950394"/>
              <a:gd name="connsiteX23" fmla="*/ 1501498 w 1950394"/>
              <a:gd name="connsiteY23" fmla="*/ 1353925 h 1950394"/>
              <a:gd name="connsiteX24" fmla="*/ 1515946 w 1950394"/>
              <a:gd name="connsiteY24" fmla="*/ 1349797 h 1950394"/>
              <a:gd name="connsiteX25" fmla="*/ 1579411 w 1950394"/>
              <a:gd name="connsiteY25" fmla="*/ 1377660 h 1950394"/>
              <a:gd name="connsiteX26" fmla="*/ 1592310 w 1950394"/>
              <a:gd name="connsiteY26" fmla="*/ 1375596 h 1950394"/>
              <a:gd name="connsiteX27" fmla="*/ 1628945 w 1950394"/>
              <a:gd name="connsiteY27" fmla="*/ 1312130 h 1950394"/>
              <a:gd name="connsiteX28" fmla="*/ 1623785 w 1950394"/>
              <a:gd name="connsiteY28" fmla="*/ 1298199 h 1950394"/>
              <a:gd name="connsiteX29" fmla="*/ 1577863 w 1950394"/>
              <a:gd name="connsiteY29" fmla="*/ 1265692 h 1950394"/>
              <a:gd name="connsiteX30" fmla="*/ 1571155 w 1950394"/>
              <a:gd name="connsiteY30" fmla="*/ 1230090 h 1950394"/>
              <a:gd name="connsiteX31" fmla="*/ 1579927 w 1950394"/>
              <a:gd name="connsiteY31" fmla="*/ 1208419 h 1950394"/>
              <a:gd name="connsiteX32" fmla="*/ 1596438 w 1950394"/>
              <a:gd name="connsiteY32" fmla="*/ 1197583 h 1950394"/>
              <a:gd name="connsiteX33" fmla="*/ 1660935 w 1950394"/>
              <a:gd name="connsiteY33" fmla="*/ 1207387 h 1950394"/>
              <a:gd name="connsiteX34" fmla="*/ 1675383 w 1950394"/>
              <a:gd name="connsiteY34" fmla="*/ 1201195 h 1950394"/>
              <a:gd name="connsiteX35" fmla="*/ 1693442 w 1950394"/>
              <a:gd name="connsiteY35" fmla="*/ 1132570 h 1950394"/>
              <a:gd name="connsiteX36" fmla="*/ 1684154 w 1950394"/>
              <a:gd name="connsiteY36" fmla="*/ 1119155 h 1950394"/>
              <a:gd name="connsiteX37" fmla="*/ 1621205 w 1950394"/>
              <a:gd name="connsiteY37" fmla="*/ 1093872 h 1950394"/>
              <a:gd name="connsiteX38" fmla="*/ 1614497 w 1950394"/>
              <a:gd name="connsiteY38" fmla="*/ 1083037 h 1950394"/>
              <a:gd name="connsiteX39" fmla="*/ 1620173 w 1950394"/>
              <a:gd name="connsiteY39" fmla="*/ 1042274 h 1950394"/>
              <a:gd name="connsiteX40" fmla="*/ 1632557 w 1950394"/>
              <a:gd name="connsiteY40" fmla="*/ 1029891 h 1950394"/>
              <a:gd name="connsiteX41" fmla="*/ 1696022 w 1950394"/>
              <a:gd name="connsiteY41" fmla="*/ 1022667 h 1950394"/>
              <a:gd name="connsiteX42" fmla="*/ 1709437 w 1950394"/>
              <a:gd name="connsiteY42" fmla="*/ 1010800 h 1950394"/>
              <a:gd name="connsiteX43" fmla="*/ 1709437 w 1950394"/>
              <a:gd name="connsiteY43" fmla="*/ 943723 h 1950394"/>
              <a:gd name="connsiteX44" fmla="*/ 1694990 w 1950394"/>
              <a:gd name="connsiteY44" fmla="*/ 931339 h 1950394"/>
              <a:gd name="connsiteX45" fmla="*/ 1650616 w 1950394"/>
              <a:gd name="connsiteY45" fmla="*/ 928243 h 1950394"/>
              <a:gd name="connsiteX46" fmla="*/ 1618109 w 1950394"/>
              <a:gd name="connsiteY46" fmla="*/ 892125 h 1950394"/>
              <a:gd name="connsiteX47" fmla="*/ 1615013 w 1950394"/>
              <a:gd name="connsiteY47" fmla="*/ 874582 h 1950394"/>
              <a:gd name="connsiteX48" fmla="*/ 1622753 w 1950394"/>
              <a:gd name="connsiteY48" fmla="*/ 859102 h 1950394"/>
              <a:gd name="connsiteX49" fmla="*/ 1684670 w 1950394"/>
              <a:gd name="connsiteY49" fmla="*/ 834851 h 1950394"/>
              <a:gd name="connsiteX50" fmla="*/ 1693442 w 1950394"/>
              <a:gd name="connsiteY50" fmla="*/ 821952 h 1950394"/>
              <a:gd name="connsiteX51" fmla="*/ 1674867 w 1950394"/>
              <a:gd name="connsiteY51" fmla="*/ 753327 h 1950394"/>
              <a:gd name="connsiteX52" fmla="*/ 1659903 w 1950394"/>
              <a:gd name="connsiteY52" fmla="*/ 746619 h 1950394"/>
              <a:gd name="connsiteX53" fmla="*/ 1594374 w 1950394"/>
              <a:gd name="connsiteY53" fmla="*/ 756423 h 1950394"/>
              <a:gd name="connsiteX54" fmla="*/ 1580443 w 1950394"/>
              <a:gd name="connsiteY54" fmla="*/ 747651 h 1950394"/>
              <a:gd name="connsiteX55" fmla="*/ 1565995 w 1950394"/>
              <a:gd name="connsiteY55" fmla="*/ 713081 h 1950394"/>
              <a:gd name="connsiteX56" fmla="*/ 1570123 w 1950394"/>
              <a:gd name="connsiteY56" fmla="*/ 696054 h 1950394"/>
              <a:gd name="connsiteX57" fmla="*/ 1623269 w 1950394"/>
              <a:gd name="connsiteY57" fmla="*/ 656323 h 1950394"/>
              <a:gd name="connsiteX58" fmla="*/ 1628429 w 1950394"/>
              <a:gd name="connsiteY58" fmla="*/ 641876 h 1950394"/>
              <a:gd name="connsiteX59" fmla="*/ 1592310 w 1950394"/>
              <a:gd name="connsiteY59" fmla="*/ 579443 h 1950394"/>
              <a:gd name="connsiteX60" fmla="*/ 1578379 w 1950394"/>
              <a:gd name="connsiteY60" fmla="*/ 576863 h 1950394"/>
              <a:gd name="connsiteX61" fmla="*/ 1532457 w 1950394"/>
              <a:gd name="connsiteY61" fmla="*/ 599050 h 1950394"/>
              <a:gd name="connsiteX62" fmla="*/ 1490147 w 1950394"/>
              <a:gd name="connsiteY62" fmla="*/ 585118 h 1950394"/>
              <a:gd name="connsiteX63" fmla="*/ 1477247 w 1950394"/>
              <a:gd name="connsiteY63" fmla="*/ 569123 h 1950394"/>
              <a:gd name="connsiteX64" fmla="*/ 1476731 w 1950394"/>
              <a:gd name="connsiteY64" fmla="*/ 552096 h 1950394"/>
              <a:gd name="connsiteX65" fmla="*/ 1518525 w 1950394"/>
              <a:gd name="connsiteY65" fmla="*/ 499982 h 1950394"/>
              <a:gd name="connsiteX66" fmla="*/ 1519557 w 1950394"/>
              <a:gd name="connsiteY66" fmla="*/ 483987 h 1950394"/>
              <a:gd name="connsiteX67" fmla="*/ 1470540 w 1950394"/>
              <a:gd name="connsiteY67" fmla="*/ 434453 h 1950394"/>
              <a:gd name="connsiteX68" fmla="*/ 1452480 w 1950394"/>
              <a:gd name="connsiteY68" fmla="*/ 436001 h 1950394"/>
              <a:gd name="connsiteX69" fmla="*/ 1418942 w 1950394"/>
              <a:gd name="connsiteY69" fmla="*/ 465412 h 1950394"/>
              <a:gd name="connsiteX70" fmla="*/ 1369408 w 1950394"/>
              <a:gd name="connsiteY70" fmla="*/ 463348 h 1950394"/>
              <a:gd name="connsiteX71" fmla="*/ 1354961 w 1950394"/>
              <a:gd name="connsiteY71" fmla="*/ 452512 h 1950394"/>
              <a:gd name="connsiteX72" fmla="*/ 1349801 w 1950394"/>
              <a:gd name="connsiteY72" fmla="*/ 436001 h 1950394"/>
              <a:gd name="connsiteX73" fmla="*/ 1377148 w 1950394"/>
              <a:gd name="connsiteY73" fmla="*/ 374084 h 1950394"/>
              <a:gd name="connsiteX74" fmla="*/ 1374052 w 1950394"/>
              <a:gd name="connsiteY74" fmla="*/ 360152 h 1950394"/>
              <a:gd name="connsiteX75" fmla="*/ 1312651 w 1950394"/>
              <a:gd name="connsiteY75" fmla="*/ 324550 h 1950394"/>
              <a:gd name="connsiteX76" fmla="*/ 1296655 w 1950394"/>
              <a:gd name="connsiteY76" fmla="*/ 329193 h 1950394"/>
              <a:gd name="connsiteX77" fmla="*/ 1256925 w 1950394"/>
              <a:gd name="connsiteY77" fmla="*/ 382855 h 1950394"/>
              <a:gd name="connsiteX78" fmla="*/ 1238866 w 1950394"/>
              <a:gd name="connsiteY78" fmla="*/ 386467 h 1950394"/>
              <a:gd name="connsiteX79" fmla="*/ 1206875 w 1950394"/>
              <a:gd name="connsiteY79" fmla="*/ 373052 h 1950394"/>
              <a:gd name="connsiteX80" fmla="*/ 1196556 w 1950394"/>
              <a:gd name="connsiteY80" fmla="*/ 357572 h 1950394"/>
              <a:gd name="connsiteX81" fmla="*/ 1206359 w 1950394"/>
              <a:gd name="connsiteY81" fmla="*/ 293075 h 1950394"/>
              <a:gd name="connsiteX82" fmla="*/ 1199652 w 1950394"/>
              <a:gd name="connsiteY82" fmla="*/ 278112 h 1950394"/>
              <a:gd name="connsiteX83" fmla="*/ 1131027 w 1950394"/>
              <a:gd name="connsiteY83" fmla="*/ 259537 h 1950394"/>
              <a:gd name="connsiteX84" fmla="*/ 1118127 w 1950394"/>
              <a:gd name="connsiteY84" fmla="*/ 268308 h 1950394"/>
              <a:gd name="connsiteX85" fmla="*/ 1093360 w 1950394"/>
              <a:gd name="connsiteY85" fmla="*/ 331258 h 1950394"/>
              <a:gd name="connsiteX86" fmla="*/ 1079945 w 1950394"/>
              <a:gd name="connsiteY86" fmla="*/ 338481 h 1950394"/>
              <a:gd name="connsiteX87" fmla="*/ 1042794 w 1950394"/>
              <a:gd name="connsiteY87" fmla="*/ 333837 h 1950394"/>
              <a:gd name="connsiteX88" fmla="*/ 1028347 w 1950394"/>
              <a:gd name="connsiteY88" fmla="*/ 320422 h 1950394"/>
              <a:gd name="connsiteX89" fmla="*/ 1021123 w 1950394"/>
              <a:gd name="connsiteY89" fmla="*/ 257989 h 1950394"/>
              <a:gd name="connsiteX90" fmla="*/ 1008740 w 1950394"/>
              <a:gd name="connsiteY90" fmla="*/ 243541 h 1950394"/>
              <a:gd name="connsiteX91" fmla="*/ 941663 w 1950394"/>
              <a:gd name="connsiteY91" fmla="*/ 243541 h 1950394"/>
              <a:gd name="connsiteX92" fmla="*/ 929795 w 1950394"/>
              <a:gd name="connsiteY92" fmla="*/ 256957 h 1950394"/>
              <a:gd name="connsiteX93" fmla="*/ 922572 w 1950394"/>
              <a:gd name="connsiteY93" fmla="*/ 320422 h 1950394"/>
              <a:gd name="connsiteX94" fmla="*/ 909156 w 1950394"/>
              <a:gd name="connsiteY94" fmla="*/ 333321 h 1950394"/>
              <a:gd name="connsiteX95" fmla="*/ 872006 w 1950394"/>
              <a:gd name="connsiteY95" fmla="*/ 337965 h 1950394"/>
              <a:gd name="connsiteX96" fmla="*/ 857559 w 1950394"/>
              <a:gd name="connsiteY96" fmla="*/ 330226 h 1950394"/>
              <a:gd name="connsiteX97" fmla="*/ 833308 w 1950394"/>
              <a:gd name="connsiteY97" fmla="*/ 268308 h 1950394"/>
              <a:gd name="connsiteX98" fmla="*/ 819892 w 1950394"/>
              <a:gd name="connsiteY98" fmla="*/ 259021 h 1950394"/>
              <a:gd name="connsiteX99" fmla="*/ 753847 w 1950394"/>
              <a:gd name="connsiteY99" fmla="*/ 276564 h 1950394"/>
              <a:gd name="connsiteX100" fmla="*/ 745591 w 1950394"/>
              <a:gd name="connsiteY100" fmla="*/ 293075 h 1950394"/>
              <a:gd name="connsiteX101" fmla="*/ 754879 w 1950394"/>
              <a:gd name="connsiteY101" fmla="*/ 339513 h 1950394"/>
              <a:gd name="connsiteX102" fmla="*/ 728564 w 1950394"/>
              <a:gd name="connsiteY102" fmla="*/ 378728 h 1950394"/>
              <a:gd name="connsiteX103" fmla="*/ 712053 w 1950394"/>
              <a:gd name="connsiteY103" fmla="*/ 385951 h 1950394"/>
              <a:gd name="connsiteX104" fmla="*/ 695026 w 1950394"/>
              <a:gd name="connsiteY104" fmla="*/ 382855 h 1950394"/>
              <a:gd name="connsiteX105" fmla="*/ 654779 w 1950394"/>
              <a:gd name="connsiteY105" fmla="*/ 328161 h 1950394"/>
              <a:gd name="connsiteX106" fmla="*/ 641364 w 1950394"/>
              <a:gd name="connsiteY106" fmla="*/ 323002 h 1950394"/>
              <a:gd name="connsiteX107" fmla="*/ 577899 w 1950394"/>
              <a:gd name="connsiteY107" fmla="*/ 359636 h 1950394"/>
              <a:gd name="connsiteX108" fmla="*/ 574803 w 1950394"/>
              <a:gd name="connsiteY108" fmla="*/ 372536 h 1950394"/>
              <a:gd name="connsiteX109" fmla="*/ 602666 w 1950394"/>
              <a:gd name="connsiteY109" fmla="*/ 435485 h 1950394"/>
              <a:gd name="connsiteX110" fmla="*/ 598022 w 1950394"/>
              <a:gd name="connsiteY110" fmla="*/ 450964 h 1950394"/>
              <a:gd name="connsiteX111" fmla="*/ 567579 w 1950394"/>
              <a:gd name="connsiteY111" fmla="*/ 474699 h 1950394"/>
              <a:gd name="connsiteX112" fmla="*/ 550552 w 1950394"/>
              <a:gd name="connsiteY112" fmla="*/ 474699 h 1950394"/>
              <a:gd name="connsiteX113" fmla="*/ 498438 w 1950394"/>
              <a:gd name="connsiteY113" fmla="*/ 432905 h 1950394"/>
              <a:gd name="connsiteX114" fmla="*/ 483475 w 1950394"/>
              <a:gd name="connsiteY114" fmla="*/ 431357 h 1950394"/>
              <a:gd name="connsiteX115" fmla="*/ 432393 w 1950394"/>
              <a:gd name="connsiteY115" fmla="*/ 482439 h 1950394"/>
              <a:gd name="connsiteX116" fmla="*/ 433425 w 1950394"/>
              <a:gd name="connsiteY116" fmla="*/ 497402 h 1950394"/>
              <a:gd name="connsiteX117" fmla="*/ 475735 w 1950394"/>
              <a:gd name="connsiteY117" fmla="*/ 550032 h 1950394"/>
              <a:gd name="connsiteX118" fmla="*/ 475219 w 1950394"/>
              <a:gd name="connsiteY118" fmla="*/ 566027 h 1950394"/>
              <a:gd name="connsiteX119" fmla="*/ 450968 w 1950394"/>
              <a:gd name="connsiteY119" fmla="*/ 597502 h 1950394"/>
              <a:gd name="connsiteX120" fmla="*/ 437553 w 1950394"/>
              <a:gd name="connsiteY120" fmla="*/ 601629 h 1950394"/>
              <a:gd name="connsiteX121" fmla="*/ 373056 w 1950394"/>
              <a:gd name="connsiteY121" fmla="*/ 573251 h 1950394"/>
              <a:gd name="connsiteX122" fmla="*/ 360156 w 1950394"/>
              <a:gd name="connsiteY122" fmla="*/ 575315 h 1950394"/>
              <a:gd name="connsiteX123" fmla="*/ 323522 w 1950394"/>
              <a:gd name="connsiteY123" fmla="*/ 638780 h 1950394"/>
              <a:gd name="connsiteX124" fmla="*/ 328166 w 1950394"/>
              <a:gd name="connsiteY124" fmla="*/ 652711 h 1950394"/>
              <a:gd name="connsiteX125" fmla="*/ 374088 w 1950394"/>
              <a:gd name="connsiteY125" fmla="*/ 685218 h 1950394"/>
              <a:gd name="connsiteX126" fmla="*/ 380795 w 1950394"/>
              <a:gd name="connsiteY126" fmla="*/ 720820 h 1950394"/>
              <a:gd name="connsiteX127" fmla="*/ 372024 w 1950394"/>
              <a:gd name="connsiteY127" fmla="*/ 742492 h 1950394"/>
              <a:gd name="connsiteX128" fmla="*/ 355513 w 1950394"/>
              <a:gd name="connsiteY128" fmla="*/ 753327 h 1950394"/>
              <a:gd name="connsiteX129" fmla="*/ 291015 w 1950394"/>
              <a:gd name="connsiteY129" fmla="*/ 743523 h 1950394"/>
              <a:gd name="connsiteX130" fmla="*/ 276568 w 1950394"/>
              <a:gd name="connsiteY130" fmla="*/ 751263 h 1950394"/>
              <a:gd name="connsiteX131" fmla="*/ 258509 w 1950394"/>
              <a:gd name="connsiteY131" fmla="*/ 818340 h 1950394"/>
              <a:gd name="connsiteX132" fmla="*/ 267796 w 1950394"/>
              <a:gd name="connsiteY132" fmla="*/ 831756 h 1950394"/>
              <a:gd name="connsiteX133" fmla="*/ 330746 w 1950394"/>
              <a:gd name="connsiteY133" fmla="*/ 857038 h 1950394"/>
              <a:gd name="connsiteX134" fmla="*/ 337453 w 1950394"/>
              <a:gd name="connsiteY134" fmla="*/ 869422 h 1950394"/>
              <a:gd name="connsiteX135" fmla="*/ 332810 w 1950394"/>
              <a:gd name="connsiteY135" fmla="*/ 906572 h 1950394"/>
              <a:gd name="connsiteX136" fmla="*/ 318878 w 1950394"/>
              <a:gd name="connsiteY136" fmla="*/ 922052 h 1950394"/>
              <a:gd name="connsiteX137" fmla="*/ 256445 w 1950394"/>
              <a:gd name="connsiteY137" fmla="*/ 929275 h 1950394"/>
              <a:gd name="connsiteX138" fmla="*/ 242514 w 1950394"/>
              <a:gd name="connsiteY138" fmla="*/ 942175 h 1950394"/>
              <a:gd name="connsiteX139" fmla="*/ 242514 w 1950394"/>
              <a:gd name="connsiteY139" fmla="*/ 1006672 h 1950394"/>
              <a:gd name="connsiteX140" fmla="*/ 257993 w 1950394"/>
              <a:gd name="connsiteY140" fmla="*/ 1020603 h 1950394"/>
              <a:gd name="connsiteX141" fmla="*/ 321458 w 1950394"/>
              <a:gd name="connsiteY141" fmla="*/ 1028343 h 1950394"/>
              <a:gd name="connsiteX142" fmla="*/ 331778 w 1950394"/>
              <a:gd name="connsiteY142" fmla="*/ 1039694 h 1950394"/>
              <a:gd name="connsiteX143" fmla="*/ 336937 w 1950394"/>
              <a:gd name="connsiteY143" fmla="*/ 1077877 h 1950394"/>
              <a:gd name="connsiteX144" fmla="*/ 329198 w 1950394"/>
              <a:gd name="connsiteY144" fmla="*/ 1093356 h 1950394"/>
              <a:gd name="connsiteX145" fmla="*/ 265733 w 1950394"/>
              <a:gd name="connsiteY145" fmla="*/ 1117607 h 1950394"/>
              <a:gd name="connsiteX146" fmla="*/ 257993 w 1950394"/>
              <a:gd name="connsiteY146" fmla="*/ 1129990 h 1950394"/>
              <a:gd name="connsiteX147" fmla="*/ 276568 w 1950394"/>
              <a:gd name="connsiteY147" fmla="*/ 1198615 h 1950394"/>
              <a:gd name="connsiteX148" fmla="*/ 291531 w 1950394"/>
              <a:gd name="connsiteY148" fmla="*/ 1205839 h 1950394"/>
              <a:gd name="connsiteX149" fmla="*/ 345709 w 1950394"/>
              <a:gd name="connsiteY149" fmla="*/ 1196035 h 1950394"/>
              <a:gd name="connsiteX150" fmla="*/ 375636 w 1950394"/>
              <a:gd name="connsiteY150" fmla="*/ 1216675 h 1950394"/>
              <a:gd name="connsiteX151" fmla="*/ 384407 w 1950394"/>
              <a:gd name="connsiteY151" fmla="*/ 1236798 h 1950394"/>
              <a:gd name="connsiteX152" fmla="*/ 379764 w 1950394"/>
              <a:gd name="connsiteY152" fmla="*/ 1257953 h 1950394"/>
              <a:gd name="connsiteX153" fmla="*/ 327134 w 1950394"/>
              <a:gd name="connsiteY153" fmla="*/ 1296651 h 1950394"/>
              <a:gd name="connsiteX154" fmla="*/ 322490 w 1950394"/>
              <a:gd name="connsiteY154" fmla="*/ 1310583 h 1950394"/>
              <a:gd name="connsiteX155" fmla="*/ 359124 w 1950394"/>
              <a:gd name="connsiteY155" fmla="*/ 1374048 h 1950394"/>
              <a:gd name="connsiteX156" fmla="*/ 370992 w 1950394"/>
              <a:gd name="connsiteY156" fmla="*/ 1376628 h 1950394"/>
              <a:gd name="connsiteX157" fmla="*/ 433941 w 1950394"/>
              <a:gd name="connsiteY157" fmla="*/ 1348765 h 1950394"/>
              <a:gd name="connsiteX158" fmla="*/ 450452 w 1950394"/>
              <a:gd name="connsiteY158" fmla="*/ 1353925 h 1950394"/>
              <a:gd name="connsiteX159" fmla="*/ 474187 w 1950394"/>
              <a:gd name="connsiteY159" fmla="*/ 1384367 h 1950394"/>
              <a:gd name="connsiteX160" fmla="*/ 475219 w 1950394"/>
              <a:gd name="connsiteY160" fmla="*/ 1399331 h 1950394"/>
              <a:gd name="connsiteX161" fmla="*/ 432909 w 1950394"/>
              <a:gd name="connsiteY161" fmla="*/ 1452476 h 1950394"/>
              <a:gd name="connsiteX162" fmla="*/ 431877 w 1950394"/>
              <a:gd name="connsiteY162" fmla="*/ 1468471 h 1950394"/>
              <a:gd name="connsiteX163" fmla="*/ 481927 w 1950394"/>
              <a:gd name="connsiteY163" fmla="*/ 1518521 h 1950394"/>
              <a:gd name="connsiteX164" fmla="*/ 497922 w 1950394"/>
              <a:gd name="connsiteY164" fmla="*/ 1517489 h 1950394"/>
              <a:gd name="connsiteX165" fmla="*/ 550036 w 1950394"/>
              <a:gd name="connsiteY165" fmla="*/ 1475695 h 1950394"/>
              <a:gd name="connsiteX166" fmla="*/ 567063 w 1950394"/>
              <a:gd name="connsiteY166" fmla="*/ 1476211 h 1950394"/>
              <a:gd name="connsiteX167" fmla="*/ 596474 w 1950394"/>
              <a:gd name="connsiteY167" fmla="*/ 1498914 h 1950394"/>
              <a:gd name="connsiteX168" fmla="*/ 601634 w 1950394"/>
              <a:gd name="connsiteY168" fmla="*/ 1515426 h 1950394"/>
              <a:gd name="connsiteX169" fmla="*/ 574287 w 1950394"/>
              <a:gd name="connsiteY169" fmla="*/ 1577343 h 1950394"/>
              <a:gd name="connsiteX170" fmla="*/ 576867 w 1950394"/>
              <a:gd name="connsiteY170" fmla="*/ 1591274 h 1950394"/>
              <a:gd name="connsiteX171" fmla="*/ 639300 w 1950394"/>
              <a:gd name="connsiteY171" fmla="*/ 1627393 h 1950394"/>
              <a:gd name="connsiteX172" fmla="*/ 653747 w 1950394"/>
              <a:gd name="connsiteY172" fmla="*/ 1622233 h 1950394"/>
              <a:gd name="connsiteX173" fmla="*/ 693478 w 1950394"/>
              <a:gd name="connsiteY173" fmla="*/ 1568571 h 1950394"/>
              <a:gd name="connsiteX174" fmla="*/ 711537 w 1950394"/>
              <a:gd name="connsiteY174" fmla="*/ 1564959 h 1950394"/>
              <a:gd name="connsiteX175" fmla="*/ 743528 w 1950394"/>
              <a:gd name="connsiteY175" fmla="*/ 1578375 h 1950394"/>
              <a:gd name="connsiteX176" fmla="*/ 753847 w 1950394"/>
              <a:gd name="connsiteY176" fmla="*/ 1593854 h 1950394"/>
              <a:gd name="connsiteX177" fmla="*/ 744044 w 1950394"/>
              <a:gd name="connsiteY177" fmla="*/ 1658351 h 1950394"/>
              <a:gd name="connsiteX178" fmla="*/ 752299 w 1950394"/>
              <a:gd name="connsiteY178" fmla="*/ 1673831 h 1950394"/>
              <a:gd name="connsiteX179" fmla="*/ 818344 w 1950394"/>
              <a:gd name="connsiteY179" fmla="*/ 1691374 h 1950394"/>
              <a:gd name="connsiteX180" fmla="*/ 832276 w 1950394"/>
              <a:gd name="connsiteY180" fmla="*/ 1682602 h 1950394"/>
              <a:gd name="connsiteX181" fmla="*/ 857043 w 1950394"/>
              <a:gd name="connsiteY181" fmla="*/ 1619653 h 1950394"/>
              <a:gd name="connsiteX182" fmla="*/ 868910 w 1950394"/>
              <a:gd name="connsiteY182" fmla="*/ 1612429 h 1950394"/>
              <a:gd name="connsiteX183" fmla="*/ 908640 w 1950394"/>
              <a:gd name="connsiteY183" fmla="*/ 1617589 h 1950394"/>
              <a:gd name="connsiteX184" fmla="*/ 922056 w 1950394"/>
              <a:gd name="connsiteY184" fmla="*/ 1630488 h 1950394"/>
              <a:gd name="connsiteX185" fmla="*/ 929279 w 1950394"/>
              <a:gd name="connsiteY185" fmla="*/ 1692922 h 1950394"/>
              <a:gd name="connsiteX186" fmla="*/ 942695 w 1950394"/>
              <a:gd name="connsiteY186" fmla="*/ 1707369 h 1950394"/>
              <a:gd name="connsiteX187" fmla="*/ 1007192 w 1950394"/>
              <a:gd name="connsiteY187" fmla="*/ 1707369 h 1950394"/>
              <a:gd name="connsiteX188" fmla="*/ 1020607 w 1950394"/>
              <a:gd name="connsiteY188" fmla="*/ 1692406 h 1950394"/>
              <a:gd name="connsiteX189" fmla="*/ 1028347 w 1950394"/>
              <a:gd name="connsiteY189" fmla="*/ 1628941 h 1950394"/>
              <a:gd name="connsiteX190" fmla="*/ 1040215 w 1950394"/>
              <a:gd name="connsiteY190" fmla="*/ 1617589 h 1950394"/>
              <a:gd name="connsiteX191" fmla="*/ 1078397 w 1950394"/>
              <a:gd name="connsiteY191" fmla="*/ 1612429 h 1950394"/>
              <a:gd name="connsiteX192" fmla="*/ 1092844 w 1950394"/>
              <a:gd name="connsiteY192" fmla="*/ 1619653 h 1950394"/>
              <a:gd name="connsiteX193" fmla="*/ 1117095 w 1950394"/>
              <a:gd name="connsiteY193" fmla="*/ 1681570 h 1950394"/>
              <a:gd name="connsiteX194" fmla="*/ 1130511 w 1950394"/>
              <a:gd name="connsiteY194" fmla="*/ 1690858 h 1950394"/>
              <a:gd name="connsiteX195" fmla="*/ 1196556 w 1950394"/>
              <a:gd name="connsiteY195" fmla="*/ 1673315 h 1950394"/>
              <a:gd name="connsiteX196" fmla="*/ 1204811 w 1950394"/>
              <a:gd name="connsiteY196" fmla="*/ 1656803 h 1950394"/>
              <a:gd name="connsiteX197" fmla="*/ 1198104 w 1950394"/>
              <a:gd name="connsiteY197" fmla="*/ 1613977 h 195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950394" h="1950394">
                <a:moveTo>
                  <a:pt x="977265" y="1954006"/>
                </a:moveTo>
                <a:cubicBezTo>
                  <a:pt x="444261" y="1950394"/>
                  <a:pt x="1552" y="1529873"/>
                  <a:pt x="4" y="977261"/>
                </a:cubicBezTo>
                <a:cubicBezTo>
                  <a:pt x="-1544" y="439613"/>
                  <a:pt x="427749" y="0"/>
                  <a:pt x="976749" y="0"/>
                </a:cubicBezTo>
                <a:cubicBezTo>
                  <a:pt x="1519041" y="0"/>
                  <a:pt x="1952978" y="432905"/>
                  <a:pt x="1953494" y="976229"/>
                </a:cubicBezTo>
                <a:cubicBezTo>
                  <a:pt x="1953494" y="1512846"/>
                  <a:pt x="1525749" y="1948330"/>
                  <a:pt x="977265" y="1954006"/>
                </a:cubicBezTo>
                <a:close/>
                <a:moveTo>
                  <a:pt x="1198104" y="1613977"/>
                </a:moveTo>
                <a:cubicBezTo>
                  <a:pt x="1198104" y="1578891"/>
                  <a:pt x="1194492" y="1586630"/>
                  <a:pt x="1221839" y="1574763"/>
                </a:cubicBezTo>
                <a:cubicBezTo>
                  <a:pt x="1228030" y="1572183"/>
                  <a:pt x="1234738" y="1569603"/>
                  <a:pt x="1240930" y="1566507"/>
                </a:cubicBezTo>
                <a:cubicBezTo>
                  <a:pt x="1247637" y="1562896"/>
                  <a:pt x="1252797" y="1563927"/>
                  <a:pt x="1257957" y="1569603"/>
                </a:cubicBezTo>
                <a:cubicBezTo>
                  <a:pt x="1272920" y="1586630"/>
                  <a:pt x="1290464" y="1602110"/>
                  <a:pt x="1298203" y="1624297"/>
                </a:cubicBezTo>
                <a:cubicBezTo>
                  <a:pt x="1300783" y="1631520"/>
                  <a:pt x="1304395" y="1633068"/>
                  <a:pt x="1311619" y="1629456"/>
                </a:cubicBezTo>
                <a:cubicBezTo>
                  <a:pt x="1333290" y="1618105"/>
                  <a:pt x="1354445" y="1605722"/>
                  <a:pt x="1375084" y="1592822"/>
                </a:cubicBezTo>
                <a:cubicBezTo>
                  <a:pt x="1382824" y="1588178"/>
                  <a:pt x="1381791" y="1584051"/>
                  <a:pt x="1377148" y="1578891"/>
                </a:cubicBezTo>
                <a:cubicBezTo>
                  <a:pt x="1361152" y="1560832"/>
                  <a:pt x="1356509" y="1537613"/>
                  <a:pt x="1349285" y="1515426"/>
                </a:cubicBezTo>
                <a:cubicBezTo>
                  <a:pt x="1347221" y="1509750"/>
                  <a:pt x="1348253" y="1505622"/>
                  <a:pt x="1353413" y="1502010"/>
                </a:cubicBezTo>
                <a:cubicBezTo>
                  <a:pt x="1364248" y="1493754"/>
                  <a:pt x="1375600" y="1485499"/>
                  <a:pt x="1385919" y="1476727"/>
                </a:cubicBezTo>
                <a:cubicBezTo>
                  <a:pt x="1391079" y="1472600"/>
                  <a:pt x="1395723" y="1473115"/>
                  <a:pt x="1400883" y="1476727"/>
                </a:cubicBezTo>
                <a:cubicBezTo>
                  <a:pt x="1419458" y="1489111"/>
                  <a:pt x="1440097" y="1498914"/>
                  <a:pt x="1452996" y="1518005"/>
                </a:cubicBezTo>
                <a:cubicBezTo>
                  <a:pt x="1457640" y="1525229"/>
                  <a:pt x="1463316" y="1525745"/>
                  <a:pt x="1470024" y="1519553"/>
                </a:cubicBezTo>
                <a:cubicBezTo>
                  <a:pt x="1487051" y="1503558"/>
                  <a:pt x="1503562" y="1487047"/>
                  <a:pt x="1519041" y="1470535"/>
                </a:cubicBezTo>
                <a:cubicBezTo>
                  <a:pt x="1525233" y="1464344"/>
                  <a:pt x="1525749" y="1458668"/>
                  <a:pt x="1518010" y="1453508"/>
                </a:cubicBezTo>
                <a:cubicBezTo>
                  <a:pt x="1498402" y="1440093"/>
                  <a:pt x="1488599" y="1418938"/>
                  <a:pt x="1475699" y="1400363"/>
                </a:cubicBezTo>
                <a:cubicBezTo>
                  <a:pt x="1472088" y="1395203"/>
                  <a:pt x="1472088" y="1391075"/>
                  <a:pt x="1476215" y="1386431"/>
                </a:cubicBezTo>
                <a:cubicBezTo>
                  <a:pt x="1484987" y="1375596"/>
                  <a:pt x="1493243" y="1364760"/>
                  <a:pt x="1501498" y="1353925"/>
                </a:cubicBezTo>
                <a:cubicBezTo>
                  <a:pt x="1505626" y="1348249"/>
                  <a:pt x="1510270" y="1348249"/>
                  <a:pt x="1515946" y="1349797"/>
                </a:cubicBezTo>
                <a:cubicBezTo>
                  <a:pt x="1538133" y="1357020"/>
                  <a:pt x="1560836" y="1362180"/>
                  <a:pt x="1579411" y="1377660"/>
                </a:cubicBezTo>
                <a:cubicBezTo>
                  <a:pt x="1584571" y="1382303"/>
                  <a:pt x="1588182" y="1382303"/>
                  <a:pt x="1592310" y="1375596"/>
                </a:cubicBezTo>
                <a:cubicBezTo>
                  <a:pt x="1605210" y="1354441"/>
                  <a:pt x="1617593" y="1333801"/>
                  <a:pt x="1628945" y="1312130"/>
                </a:cubicBezTo>
                <a:cubicBezTo>
                  <a:pt x="1632557" y="1304907"/>
                  <a:pt x="1631009" y="1300779"/>
                  <a:pt x="1623785" y="1298199"/>
                </a:cubicBezTo>
                <a:cubicBezTo>
                  <a:pt x="1605726" y="1291491"/>
                  <a:pt x="1591794" y="1278592"/>
                  <a:pt x="1577863" y="1265692"/>
                </a:cubicBezTo>
                <a:cubicBezTo>
                  <a:pt x="1560320" y="1248665"/>
                  <a:pt x="1560836" y="1253309"/>
                  <a:pt x="1571155" y="1230090"/>
                </a:cubicBezTo>
                <a:cubicBezTo>
                  <a:pt x="1574251" y="1222866"/>
                  <a:pt x="1577347" y="1215643"/>
                  <a:pt x="1579927" y="1208419"/>
                </a:cubicBezTo>
                <a:cubicBezTo>
                  <a:pt x="1582507" y="1200163"/>
                  <a:pt x="1587667" y="1197583"/>
                  <a:pt x="1596438" y="1197583"/>
                </a:cubicBezTo>
                <a:cubicBezTo>
                  <a:pt x="1618625" y="1198100"/>
                  <a:pt x="1640296" y="1197583"/>
                  <a:pt x="1660935" y="1207387"/>
                </a:cubicBezTo>
                <a:cubicBezTo>
                  <a:pt x="1668159" y="1210483"/>
                  <a:pt x="1672287" y="1209967"/>
                  <a:pt x="1675383" y="1201195"/>
                </a:cubicBezTo>
                <a:cubicBezTo>
                  <a:pt x="1682090" y="1178492"/>
                  <a:pt x="1688282" y="1155789"/>
                  <a:pt x="1693442" y="1132570"/>
                </a:cubicBezTo>
                <a:cubicBezTo>
                  <a:pt x="1695506" y="1123283"/>
                  <a:pt x="1692926" y="1119671"/>
                  <a:pt x="1684154" y="1119155"/>
                </a:cubicBezTo>
                <a:cubicBezTo>
                  <a:pt x="1660935" y="1117091"/>
                  <a:pt x="1641328" y="1104192"/>
                  <a:pt x="1621205" y="1093872"/>
                </a:cubicBezTo>
                <a:cubicBezTo>
                  <a:pt x="1616561" y="1091808"/>
                  <a:pt x="1613465" y="1088712"/>
                  <a:pt x="1614497" y="1083037"/>
                </a:cubicBezTo>
                <a:cubicBezTo>
                  <a:pt x="1616561" y="1069621"/>
                  <a:pt x="1618625" y="1055690"/>
                  <a:pt x="1620173" y="1042274"/>
                </a:cubicBezTo>
                <a:cubicBezTo>
                  <a:pt x="1621205" y="1034535"/>
                  <a:pt x="1625333" y="1031439"/>
                  <a:pt x="1632557" y="1029891"/>
                </a:cubicBezTo>
                <a:cubicBezTo>
                  <a:pt x="1653712" y="1025763"/>
                  <a:pt x="1673835" y="1018539"/>
                  <a:pt x="1696022" y="1022667"/>
                </a:cubicBezTo>
                <a:cubicBezTo>
                  <a:pt x="1704793" y="1024215"/>
                  <a:pt x="1708921" y="1020603"/>
                  <a:pt x="1709437" y="1010800"/>
                </a:cubicBezTo>
                <a:cubicBezTo>
                  <a:pt x="1710469" y="988612"/>
                  <a:pt x="1710985" y="966426"/>
                  <a:pt x="1709437" y="943723"/>
                </a:cubicBezTo>
                <a:cubicBezTo>
                  <a:pt x="1708921" y="933403"/>
                  <a:pt x="1704793" y="929791"/>
                  <a:pt x="1694990" y="931339"/>
                </a:cubicBezTo>
                <a:cubicBezTo>
                  <a:pt x="1680026" y="933919"/>
                  <a:pt x="1665063" y="931855"/>
                  <a:pt x="1650616" y="928243"/>
                </a:cubicBezTo>
                <a:cubicBezTo>
                  <a:pt x="1619141" y="919988"/>
                  <a:pt x="1621205" y="928243"/>
                  <a:pt x="1618109" y="892125"/>
                </a:cubicBezTo>
                <a:cubicBezTo>
                  <a:pt x="1617593" y="885933"/>
                  <a:pt x="1616561" y="880257"/>
                  <a:pt x="1615013" y="874582"/>
                </a:cubicBezTo>
                <a:cubicBezTo>
                  <a:pt x="1612949" y="866842"/>
                  <a:pt x="1616561" y="862714"/>
                  <a:pt x="1622753" y="859102"/>
                </a:cubicBezTo>
                <a:cubicBezTo>
                  <a:pt x="1642876" y="849299"/>
                  <a:pt x="1661967" y="836915"/>
                  <a:pt x="1684670" y="834851"/>
                </a:cubicBezTo>
                <a:cubicBezTo>
                  <a:pt x="1692410" y="834335"/>
                  <a:pt x="1696022" y="830724"/>
                  <a:pt x="1693442" y="821952"/>
                </a:cubicBezTo>
                <a:cubicBezTo>
                  <a:pt x="1687766" y="799249"/>
                  <a:pt x="1682090" y="776030"/>
                  <a:pt x="1674867" y="753327"/>
                </a:cubicBezTo>
                <a:cubicBezTo>
                  <a:pt x="1671771" y="744039"/>
                  <a:pt x="1667643" y="743007"/>
                  <a:pt x="1659903" y="746619"/>
                </a:cubicBezTo>
                <a:cubicBezTo>
                  <a:pt x="1638748" y="756423"/>
                  <a:pt x="1616561" y="755907"/>
                  <a:pt x="1594374" y="756423"/>
                </a:cubicBezTo>
                <a:cubicBezTo>
                  <a:pt x="1587667" y="756423"/>
                  <a:pt x="1583023" y="754359"/>
                  <a:pt x="1580443" y="747651"/>
                </a:cubicBezTo>
                <a:cubicBezTo>
                  <a:pt x="1575799" y="735784"/>
                  <a:pt x="1571155" y="724432"/>
                  <a:pt x="1565995" y="713081"/>
                </a:cubicBezTo>
                <a:cubicBezTo>
                  <a:pt x="1562900" y="705857"/>
                  <a:pt x="1564448" y="701213"/>
                  <a:pt x="1570123" y="696054"/>
                </a:cubicBezTo>
                <a:cubicBezTo>
                  <a:pt x="1586635" y="681090"/>
                  <a:pt x="1602114" y="664579"/>
                  <a:pt x="1623269" y="656323"/>
                </a:cubicBezTo>
                <a:cubicBezTo>
                  <a:pt x="1631009" y="653227"/>
                  <a:pt x="1632557" y="649616"/>
                  <a:pt x="1628429" y="641876"/>
                </a:cubicBezTo>
                <a:cubicBezTo>
                  <a:pt x="1617077" y="620721"/>
                  <a:pt x="1605210" y="599566"/>
                  <a:pt x="1592310" y="579443"/>
                </a:cubicBezTo>
                <a:cubicBezTo>
                  <a:pt x="1587667" y="572219"/>
                  <a:pt x="1584055" y="572219"/>
                  <a:pt x="1578379" y="576863"/>
                </a:cubicBezTo>
                <a:cubicBezTo>
                  <a:pt x="1564963" y="587698"/>
                  <a:pt x="1548968" y="594406"/>
                  <a:pt x="1532457" y="599050"/>
                </a:cubicBezTo>
                <a:cubicBezTo>
                  <a:pt x="1499950" y="607821"/>
                  <a:pt x="1510270" y="610917"/>
                  <a:pt x="1490147" y="585118"/>
                </a:cubicBezTo>
                <a:cubicBezTo>
                  <a:pt x="1486019" y="579443"/>
                  <a:pt x="1481891" y="574283"/>
                  <a:pt x="1477247" y="569123"/>
                </a:cubicBezTo>
                <a:cubicBezTo>
                  <a:pt x="1472088" y="563447"/>
                  <a:pt x="1472088" y="558288"/>
                  <a:pt x="1476731" y="552096"/>
                </a:cubicBezTo>
                <a:cubicBezTo>
                  <a:pt x="1489115" y="533521"/>
                  <a:pt x="1498918" y="513397"/>
                  <a:pt x="1518525" y="499982"/>
                </a:cubicBezTo>
                <a:cubicBezTo>
                  <a:pt x="1525233" y="495338"/>
                  <a:pt x="1525233" y="490178"/>
                  <a:pt x="1519557" y="483987"/>
                </a:cubicBezTo>
                <a:cubicBezTo>
                  <a:pt x="1503562" y="466960"/>
                  <a:pt x="1487051" y="450448"/>
                  <a:pt x="1470540" y="434453"/>
                </a:cubicBezTo>
                <a:cubicBezTo>
                  <a:pt x="1463316" y="427745"/>
                  <a:pt x="1458156" y="428261"/>
                  <a:pt x="1452480" y="436001"/>
                </a:cubicBezTo>
                <a:cubicBezTo>
                  <a:pt x="1443709" y="448384"/>
                  <a:pt x="1431841" y="457672"/>
                  <a:pt x="1418942" y="465412"/>
                </a:cubicBezTo>
                <a:cubicBezTo>
                  <a:pt x="1393143" y="481407"/>
                  <a:pt x="1393143" y="481407"/>
                  <a:pt x="1369408" y="463348"/>
                </a:cubicBezTo>
                <a:cubicBezTo>
                  <a:pt x="1364764" y="459736"/>
                  <a:pt x="1360121" y="455608"/>
                  <a:pt x="1354961" y="452512"/>
                </a:cubicBezTo>
                <a:cubicBezTo>
                  <a:pt x="1348253" y="448384"/>
                  <a:pt x="1347221" y="443225"/>
                  <a:pt x="1349801" y="436001"/>
                </a:cubicBezTo>
                <a:cubicBezTo>
                  <a:pt x="1357025" y="414330"/>
                  <a:pt x="1361668" y="391627"/>
                  <a:pt x="1377148" y="374084"/>
                </a:cubicBezTo>
                <a:cubicBezTo>
                  <a:pt x="1382307" y="368408"/>
                  <a:pt x="1381276" y="364280"/>
                  <a:pt x="1374052" y="360152"/>
                </a:cubicBezTo>
                <a:cubicBezTo>
                  <a:pt x="1353929" y="347769"/>
                  <a:pt x="1333806" y="335385"/>
                  <a:pt x="1312651" y="324550"/>
                </a:cubicBezTo>
                <a:cubicBezTo>
                  <a:pt x="1304911" y="320422"/>
                  <a:pt x="1299751" y="320422"/>
                  <a:pt x="1296655" y="329193"/>
                </a:cubicBezTo>
                <a:cubicBezTo>
                  <a:pt x="1288916" y="350865"/>
                  <a:pt x="1271888" y="365828"/>
                  <a:pt x="1256925" y="382855"/>
                </a:cubicBezTo>
                <a:cubicBezTo>
                  <a:pt x="1251249" y="389047"/>
                  <a:pt x="1246090" y="389563"/>
                  <a:pt x="1238866" y="386467"/>
                </a:cubicBezTo>
                <a:cubicBezTo>
                  <a:pt x="1228546" y="381307"/>
                  <a:pt x="1217711" y="377179"/>
                  <a:pt x="1206875" y="373052"/>
                </a:cubicBezTo>
                <a:cubicBezTo>
                  <a:pt x="1199136" y="370472"/>
                  <a:pt x="1196556" y="365312"/>
                  <a:pt x="1196556" y="357572"/>
                </a:cubicBezTo>
                <a:cubicBezTo>
                  <a:pt x="1197072" y="335385"/>
                  <a:pt x="1196556" y="313714"/>
                  <a:pt x="1206359" y="293075"/>
                </a:cubicBezTo>
                <a:cubicBezTo>
                  <a:pt x="1209971" y="285335"/>
                  <a:pt x="1208939" y="280692"/>
                  <a:pt x="1199652" y="278112"/>
                </a:cubicBezTo>
                <a:cubicBezTo>
                  <a:pt x="1176949" y="271404"/>
                  <a:pt x="1154246" y="265212"/>
                  <a:pt x="1131027" y="259537"/>
                </a:cubicBezTo>
                <a:cubicBezTo>
                  <a:pt x="1122255" y="257473"/>
                  <a:pt x="1119159" y="260569"/>
                  <a:pt x="1118127" y="268308"/>
                </a:cubicBezTo>
                <a:cubicBezTo>
                  <a:pt x="1116063" y="291527"/>
                  <a:pt x="1103164" y="311134"/>
                  <a:pt x="1093360" y="331258"/>
                </a:cubicBezTo>
                <a:cubicBezTo>
                  <a:pt x="1090780" y="336933"/>
                  <a:pt x="1086653" y="339513"/>
                  <a:pt x="1079945" y="338481"/>
                </a:cubicBezTo>
                <a:cubicBezTo>
                  <a:pt x="1067561" y="336417"/>
                  <a:pt x="1055178" y="334869"/>
                  <a:pt x="1042794" y="333837"/>
                </a:cubicBezTo>
                <a:cubicBezTo>
                  <a:pt x="1034539" y="332805"/>
                  <a:pt x="1029895" y="329193"/>
                  <a:pt x="1028347" y="320422"/>
                </a:cubicBezTo>
                <a:cubicBezTo>
                  <a:pt x="1024735" y="299783"/>
                  <a:pt x="1016996" y="279660"/>
                  <a:pt x="1021123" y="257989"/>
                </a:cubicBezTo>
                <a:cubicBezTo>
                  <a:pt x="1022671" y="248701"/>
                  <a:pt x="1019059" y="244057"/>
                  <a:pt x="1008740" y="243541"/>
                </a:cubicBezTo>
                <a:cubicBezTo>
                  <a:pt x="986553" y="242509"/>
                  <a:pt x="964366" y="242509"/>
                  <a:pt x="941663" y="243541"/>
                </a:cubicBezTo>
                <a:cubicBezTo>
                  <a:pt x="931859" y="244057"/>
                  <a:pt x="928247" y="248185"/>
                  <a:pt x="929795" y="256957"/>
                </a:cubicBezTo>
                <a:cubicBezTo>
                  <a:pt x="933923" y="279144"/>
                  <a:pt x="926184" y="299267"/>
                  <a:pt x="922572" y="320422"/>
                </a:cubicBezTo>
                <a:cubicBezTo>
                  <a:pt x="921024" y="328678"/>
                  <a:pt x="916896" y="332290"/>
                  <a:pt x="909156" y="333321"/>
                </a:cubicBezTo>
                <a:cubicBezTo>
                  <a:pt x="896773" y="334869"/>
                  <a:pt x="884389" y="335901"/>
                  <a:pt x="872006" y="337965"/>
                </a:cubicBezTo>
                <a:cubicBezTo>
                  <a:pt x="864782" y="339513"/>
                  <a:pt x="860654" y="336933"/>
                  <a:pt x="857559" y="330226"/>
                </a:cubicBezTo>
                <a:cubicBezTo>
                  <a:pt x="847755" y="310102"/>
                  <a:pt x="835371" y="291527"/>
                  <a:pt x="833308" y="268308"/>
                </a:cubicBezTo>
                <a:cubicBezTo>
                  <a:pt x="832276" y="259537"/>
                  <a:pt x="828664" y="256957"/>
                  <a:pt x="819892" y="259021"/>
                </a:cubicBezTo>
                <a:cubicBezTo>
                  <a:pt x="797705" y="264180"/>
                  <a:pt x="775518" y="269856"/>
                  <a:pt x="753847" y="276564"/>
                </a:cubicBezTo>
                <a:cubicBezTo>
                  <a:pt x="744044" y="279660"/>
                  <a:pt x="740948" y="283272"/>
                  <a:pt x="745591" y="293075"/>
                </a:cubicBezTo>
                <a:cubicBezTo>
                  <a:pt x="751783" y="308039"/>
                  <a:pt x="754879" y="323518"/>
                  <a:pt x="754879" y="339513"/>
                </a:cubicBezTo>
                <a:cubicBezTo>
                  <a:pt x="754879" y="367892"/>
                  <a:pt x="755395" y="367892"/>
                  <a:pt x="728564" y="378728"/>
                </a:cubicBezTo>
                <a:cubicBezTo>
                  <a:pt x="722888" y="380791"/>
                  <a:pt x="717213" y="383371"/>
                  <a:pt x="712053" y="385951"/>
                </a:cubicBezTo>
                <a:cubicBezTo>
                  <a:pt x="705345" y="389563"/>
                  <a:pt x="700185" y="388531"/>
                  <a:pt x="695026" y="382855"/>
                </a:cubicBezTo>
                <a:cubicBezTo>
                  <a:pt x="679546" y="365828"/>
                  <a:pt x="662519" y="350349"/>
                  <a:pt x="654779" y="328161"/>
                </a:cubicBezTo>
                <a:cubicBezTo>
                  <a:pt x="652200" y="320938"/>
                  <a:pt x="648588" y="319390"/>
                  <a:pt x="641364" y="323002"/>
                </a:cubicBezTo>
                <a:cubicBezTo>
                  <a:pt x="619693" y="334353"/>
                  <a:pt x="598538" y="346737"/>
                  <a:pt x="577899" y="359636"/>
                </a:cubicBezTo>
                <a:cubicBezTo>
                  <a:pt x="571707" y="363248"/>
                  <a:pt x="570159" y="366860"/>
                  <a:pt x="574803" y="372536"/>
                </a:cubicBezTo>
                <a:cubicBezTo>
                  <a:pt x="590798" y="390595"/>
                  <a:pt x="595958" y="413298"/>
                  <a:pt x="602666" y="435485"/>
                </a:cubicBezTo>
                <a:cubicBezTo>
                  <a:pt x="604730" y="442193"/>
                  <a:pt x="604214" y="446836"/>
                  <a:pt x="598022" y="450964"/>
                </a:cubicBezTo>
                <a:cubicBezTo>
                  <a:pt x="587702" y="458188"/>
                  <a:pt x="577383" y="466444"/>
                  <a:pt x="567579" y="474699"/>
                </a:cubicBezTo>
                <a:cubicBezTo>
                  <a:pt x="561388" y="479859"/>
                  <a:pt x="556744" y="478827"/>
                  <a:pt x="550552" y="474699"/>
                </a:cubicBezTo>
                <a:cubicBezTo>
                  <a:pt x="531977" y="462316"/>
                  <a:pt x="511854" y="451996"/>
                  <a:pt x="498438" y="432905"/>
                </a:cubicBezTo>
                <a:cubicBezTo>
                  <a:pt x="494310" y="426713"/>
                  <a:pt x="489151" y="426197"/>
                  <a:pt x="483475" y="431357"/>
                </a:cubicBezTo>
                <a:cubicBezTo>
                  <a:pt x="465932" y="447352"/>
                  <a:pt x="448904" y="464895"/>
                  <a:pt x="432393" y="482439"/>
                </a:cubicBezTo>
                <a:cubicBezTo>
                  <a:pt x="427233" y="488114"/>
                  <a:pt x="426717" y="493274"/>
                  <a:pt x="433425" y="497402"/>
                </a:cubicBezTo>
                <a:cubicBezTo>
                  <a:pt x="453032" y="510818"/>
                  <a:pt x="462836" y="531457"/>
                  <a:pt x="475735" y="550032"/>
                </a:cubicBezTo>
                <a:cubicBezTo>
                  <a:pt x="479863" y="555708"/>
                  <a:pt x="479863" y="560867"/>
                  <a:pt x="475219" y="566027"/>
                </a:cubicBezTo>
                <a:cubicBezTo>
                  <a:pt x="466964" y="576347"/>
                  <a:pt x="458708" y="587182"/>
                  <a:pt x="450968" y="597502"/>
                </a:cubicBezTo>
                <a:cubicBezTo>
                  <a:pt x="447357" y="602146"/>
                  <a:pt x="443745" y="603694"/>
                  <a:pt x="437553" y="601629"/>
                </a:cubicBezTo>
                <a:cubicBezTo>
                  <a:pt x="414850" y="594406"/>
                  <a:pt x="391631" y="589246"/>
                  <a:pt x="373056" y="573251"/>
                </a:cubicBezTo>
                <a:cubicBezTo>
                  <a:pt x="367896" y="568607"/>
                  <a:pt x="363768" y="568607"/>
                  <a:pt x="360156" y="575315"/>
                </a:cubicBezTo>
                <a:cubicBezTo>
                  <a:pt x="347257" y="596470"/>
                  <a:pt x="334358" y="617109"/>
                  <a:pt x="323522" y="638780"/>
                </a:cubicBezTo>
                <a:cubicBezTo>
                  <a:pt x="319910" y="646004"/>
                  <a:pt x="320942" y="650131"/>
                  <a:pt x="328166" y="652711"/>
                </a:cubicBezTo>
                <a:cubicBezTo>
                  <a:pt x="346225" y="659419"/>
                  <a:pt x="360672" y="672318"/>
                  <a:pt x="374088" y="685218"/>
                </a:cubicBezTo>
                <a:cubicBezTo>
                  <a:pt x="392147" y="702245"/>
                  <a:pt x="391115" y="698117"/>
                  <a:pt x="380795" y="720820"/>
                </a:cubicBezTo>
                <a:cubicBezTo>
                  <a:pt x="377700" y="728044"/>
                  <a:pt x="374604" y="735268"/>
                  <a:pt x="372024" y="742492"/>
                </a:cubicBezTo>
                <a:cubicBezTo>
                  <a:pt x="369444" y="750747"/>
                  <a:pt x="364284" y="753327"/>
                  <a:pt x="355513" y="753327"/>
                </a:cubicBezTo>
                <a:cubicBezTo>
                  <a:pt x="333326" y="752811"/>
                  <a:pt x="311655" y="753327"/>
                  <a:pt x="291015" y="743523"/>
                </a:cubicBezTo>
                <a:cubicBezTo>
                  <a:pt x="282760" y="739396"/>
                  <a:pt x="279148" y="742492"/>
                  <a:pt x="276568" y="751263"/>
                </a:cubicBezTo>
                <a:cubicBezTo>
                  <a:pt x="269860" y="773450"/>
                  <a:pt x="264185" y="796153"/>
                  <a:pt x="258509" y="818340"/>
                </a:cubicBezTo>
                <a:cubicBezTo>
                  <a:pt x="256445" y="827628"/>
                  <a:pt x="259025" y="831239"/>
                  <a:pt x="267796" y="831756"/>
                </a:cubicBezTo>
                <a:cubicBezTo>
                  <a:pt x="291015" y="833819"/>
                  <a:pt x="310623" y="846719"/>
                  <a:pt x="330746" y="857038"/>
                </a:cubicBezTo>
                <a:cubicBezTo>
                  <a:pt x="335905" y="859618"/>
                  <a:pt x="338485" y="863230"/>
                  <a:pt x="337453" y="869422"/>
                </a:cubicBezTo>
                <a:cubicBezTo>
                  <a:pt x="335389" y="881805"/>
                  <a:pt x="333842" y="894189"/>
                  <a:pt x="332810" y="906572"/>
                </a:cubicBezTo>
                <a:cubicBezTo>
                  <a:pt x="331778" y="915344"/>
                  <a:pt x="328166" y="919988"/>
                  <a:pt x="318878" y="922052"/>
                </a:cubicBezTo>
                <a:cubicBezTo>
                  <a:pt x="298239" y="925664"/>
                  <a:pt x="278116" y="932887"/>
                  <a:pt x="256445" y="929275"/>
                </a:cubicBezTo>
                <a:cubicBezTo>
                  <a:pt x="246125" y="927211"/>
                  <a:pt x="243029" y="932371"/>
                  <a:pt x="242514" y="942175"/>
                </a:cubicBezTo>
                <a:cubicBezTo>
                  <a:pt x="241482" y="963846"/>
                  <a:pt x="241482" y="985001"/>
                  <a:pt x="242514" y="1006672"/>
                </a:cubicBezTo>
                <a:cubicBezTo>
                  <a:pt x="243029" y="1018023"/>
                  <a:pt x="247157" y="1022667"/>
                  <a:pt x="257993" y="1020603"/>
                </a:cubicBezTo>
                <a:cubicBezTo>
                  <a:pt x="280180" y="1016475"/>
                  <a:pt x="300303" y="1024731"/>
                  <a:pt x="321458" y="1028343"/>
                </a:cubicBezTo>
                <a:cubicBezTo>
                  <a:pt x="327650" y="1029375"/>
                  <a:pt x="331262" y="1032987"/>
                  <a:pt x="331778" y="1039694"/>
                </a:cubicBezTo>
                <a:cubicBezTo>
                  <a:pt x="333326" y="1052594"/>
                  <a:pt x="334358" y="1065493"/>
                  <a:pt x="336937" y="1077877"/>
                </a:cubicBezTo>
                <a:cubicBezTo>
                  <a:pt x="338485" y="1085617"/>
                  <a:pt x="335905" y="1089744"/>
                  <a:pt x="329198" y="1093356"/>
                </a:cubicBezTo>
                <a:cubicBezTo>
                  <a:pt x="309075" y="1103676"/>
                  <a:pt x="289467" y="1115543"/>
                  <a:pt x="265733" y="1117607"/>
                </a:cubicBezTo>
                <a:cubicBezTo>
                  <a:pt x="257993" y="1118123"/>
                  <a:pt x="255929" y="1122251"/>
                  <a:pt x="257993" y="1129990"/>
                </a:cubicBezTo>
                <a:cubicBezTo>
                  <a:pt x="263669" y="1153209"/>
                  <a:pt x="269344" y="1175913"/>
                  <a:pt x="276568" y="1198615"/>
                </a:cubicBezTo>
                <a:cubicBezTo>
                  <a:pt x="279148" y="1207903"/>
                  <a:pt x="283276" y="1209451"/>
                  <a:pt x="291531" y="1205839"/>
                </a:cubicBezTo>
                <a:cubicBezTo>
                  <a:pt x="308559" y="1198100"/>
                  <a:pt x="327134" y="1196035"/>
                  <a:pt x="345709" y="1196035"/>
                </a:cubicBezTo>
                <a:cubicBezTo>
                  <a:pt x="371508" y="1196035"/>
                  <a:pt x="366348" y="1193456"/>
                  <a:pt x="375636" y="1216675"/>
                </a:cubicBezTo>
                <a:cubicBezTo>
                  <a:pt x="378216" y="1223382"/>
                  <a:pt x="380795" y="1230606"/>
                  <a:pt x="384407" y="1236798"/>
                </a:cubicBezTo>
                <a:cubicBezTo>
                  <a:pt x="389051" y="1245569"/>
                  <a:pt x="386987" y="1251761"/>
                  <a:pt x="379764" y="1257953"/>
                </a:cubicBezTo>
                <a:cubicBezTo>
                  <a:pt x="363252" y="1272400"/>
                  <a:pt x="348289" y="1288396"/>
                  <a:pt x="327134" y="1296651"/>
                </a:cubicBezTo>
                <a:cubicBezTo>
                  <a:pt x="319394" y="1299231"/>
                  <a:pt x="319394" y="1303875"/>
                  <a:pt x="322490" y="1310583"/>
                </a:cubicBezTo>
                <a:cubicBezTo>
                  <a:pt x="333842" y="1332254"/>
                  <a:pt x="346225" y="1353409"/>
                  <a:pt x="359124" y="1374048"/>
                </a:cubicBezTo>
                <a:cubicBezTo>
                  <a:pt x="362736" y="1379724"/>
                  <a:pt x="365832" y="1380755"/>
                  <a:pt x="370992" y="1376628"/>
                </a:cubicBezTo>
                <a:cubicBezTo>
                  <a:pt x="389051" y="1361148"/>
                  <a:pt x="412270" y="1355988"/>
                  <a:pt x="433941" y="1348765"/>
                </a:cubicBezTo>
                <a:cubicBezTo>
                  <a:pt x="441165" y="1346185"/>
                  <a:pt x="445809" y="1347217"/>
                  <a:pt x="450452" y="1353925"/>
                </a:cubicBezTo>
                <a:cubicBezTo>
                  <a:pt x="457676" y="1364760"/>
                  <a:pt x="465932" y="1374564"/>
                  <a:pt x="474187" y="1384367"/>
                </a:cubicBezTo>
                <a:cubicBezTo>
                  <a:pt x="478315" y="1389527"/>
                  <a:pt x="478831" y="1393655"/>
                  <a:pt x="475219" y="1399331"/>
                </a:cubicBezTo>
                <a:cubicBezTo>
                  <a:pt x="462320" y="1417906"/>
                  <a:pt x="452516" y="1439061"/>
                  <a:pt x="432909" y="1452476"/>
                </a:cubicBezTo>
                <a:cubicBezTo>
                  <a:pt x="426201" y="1457120"/>
                  <a:pt x="425685" y="1461764"/>
                  <a:pt x="431877" y="1468471"/>
                </a:cubicBezTo>
                <a:cubicBezTo>
                  <a:pt x="447873" y="1486015"/>
                  <a:pt x="464384" y="1502526"/>
                  <a:pt x="481927" y="1518521"/>
                </a:cubicBezTo>
                <a:cubicBezTo>
                  <a:pt x="488119" y="1524197"/>
                  <a:pt x="493279" y="1524197"/>
                  <a:pt x="497922" y="1517489"/>
                </a:cubicBezTo>
                <a:cubicBezTo>
                  <a:pt x="510822" y="1498398"/>
                  <a:pt x="531461" y="1488595"/>
                  <a:pt x="550036" y="1475695"/>
                </a:cubicBezTo>
                <a:cubicBezTo>
                  <a:pt x="556228" y="1471568"/>
                  <a:pt x="561388" y="1471568"/>
                  <a:pt x="567063" y="1476211"/>
                </a:cubicBezTo>
                <a:cubicBezTo>
                  <a:pt x="576867" y="1483951"/>
                  <a:pt x="586670" y="1491690"/>
                  <a:pt x="596474" y="1498914"/>
                </a:cubicBezTo>
                <a:cubicBezTo>
                  <a:pt x="602666" y="1503558"/>
                  <a:pt x="604214" y="1508202"/>
                  <a:pt x="601634" y="1515426"/>
                </a:cubicBezTo>
                <a:cubicBezTo>
                  <a:pt x="594926" y="1537097"/>
                  <a:pt x="589250" y="1559284"/>
                  <a:pt x="574287" y="1577343"/>
                </a:cubicBezTo>
                <a:cubicBezTo>
                  <a:pt x="569127" y="1583018"/>
                  <a:pt x="569643" y="1587146"/>
                  <a:pt x="576867" y="1591274"/>
                </a:cubicBezTo>
                <a:cubicBezTo>
                  <a:pt x="597506" y="1603658"/>
                  <a:pt x="618145" y="1616041"/>
                  <a:pt x="639300" y="1627393"/>
                </a:cubicBezTo>
                <a:cubicBezTo>
                  <a:pt x="647040" y="1631520"/>
                  <a:pt x="651168" y="1629973"/>
                  <a:pt x="653747" y="1622233"/>
                </a:cubicBezTo>
                <a:cubicBezTo>
                  <a:pt x="662003" y="1600562"/>
                  <a:pt x="678514" y="1585598"/>
                  <a:pt x="693478" y="1568571"/>
                </a:cubicBezTo>
                <a:cubicBezTo>
                  <a:pt x="699153" y="1562379"/>
                  <a:pt x="704313" y="1561864"/>
                  <a:pt x="711537" y="1564959"/>
                </a:cubicBezTo>
                <a:cubicBezTo>
                  <a:pt x="721856" y="1570119"/>
                  <a:pt x="732692" y="1574247"/>
                  <a:pt x="743528" y="1578375"/>
                </a:cubicBezTo>
                <a:cubicBezTo>
                  <a:pt x="751267" y="1580955"/>
                  <a:pt x="753847" y="1585598"/>
                  <a:pt x="753847" y="1593854"/>
                </a:cubicBezTo>
                <a:cubicBezTo>
                  <a:pt x="753331" y="1616041"/>
                  <a:pt x="753847" y="1637712"/>
                  <a:pt x="744044" y="1658351"/>
                </a:cubicBezTo>
                <a:cubicBezTo>
                  <a:pt x="739916" y="1667123"/>
                  <a:pt x="743012" y="1671251"/>
                  <a:pt x="752299" y="1673831"/>
                </a:cubicBezTo>
                <a:cubicBezTo>
                  <a:pt x="773970" y="1680538"/>
                  <a:pt x="796157" y="1686214"/>
                  <a:pt x="818344" y="1691374"/>
                </a:cubicBezTo>
                <a:cubicBezTo>
                  <a:pt x="827116" y="1693438"/>
                  <a:pt x="831760" y="1692406"/>
                  <a:pt x="832276" y="1682602"/>
                </a:cubicBezTo>
                <a:cubicBezTo>
                  <a:pt x="834340" y="1659383"/>
                  <a:pt x="846723" y="1639776"/>
                  <a:pt x="857043" y="1619653"/>
                </a:cubicBezTo>
                <a:cubicBezTo>
                  <a:pt x="859622" y="1614493"/>
                  <a:pt x="862718" y="1611397"/>
                  <a:pt x="868910" y="1612429"/>
                </a:cubicBezTo>
                <a:cubicBezTo>
                  <a:pt x="881809" y="1614493"/>
                  <a:pt x="895225" y="1616041"/>
                  <a:pt x="908640" y="1617589"/>
                </a:cubicBezTo>
                <a:cubicBezTo>
                  <a:pt x="916896" y="1618621"/>
                  <a:pt x="920508" y="1622749"/>
                  <a:pt x="922056" y="1630488"/>
                </a:cubicBezTo>
                <a:cubicBezTo>
                  <a:pt x="925668" y="1651128"/>
                  <a:pt x="933407" y="1671251"/>
                  <a:pt x="929279" y="1692922"/>
                </a:cubicBezTo>
                <a:cubicBezTo>
                  <a:pt x="927215" y="1703757"/>
                  <a:pt x="932375" y="1706853"/>
                  <a:pt x="942695" y="1707369"/>
                </a:cubicBezTo>
                <a:cubicBezTo>
                  <a:pt x="964366" y="1708401"/>
                  <a:pt x="985521" y="1708401"/>
                  <a:pt x="1007192" y="1707369"/>
                </a:cubicBezTo>
                <a:cubicBezTo>
                  <a:pt x="1018028" y="1706853"/>
                  <a:pt x="1022155" y="1702725"/>
                  <a:pt x="1020607" y="1692406"/>
                </a:cubicBezTo>
                <a:cubicBezTo>
                  <a:pt x="1016480" y="1670219"/>
                  <a:pt x="1024219" y="1650096"/>
                  <a:pt x="1028347" y="1628941"/>
                </a:cubicBezTo>
                <a:cubicBezTo>
                  <a:pt x="1029379" y="1621717"/>
                  <a:pt x="1033507" y="1618621"/>
                  <a:pt x="1040215" y="1617589"/>
                </a:cubicBezTo>
                <a:cubicBezTo>
                  <a:pt x="1053114" y="1616041"/>
                  <a:pt x="1066013" y="1615009"/>
                  <a:pt x="1078397" y="1612429"/>
                </a:cubicBezTo>
                <a:cubicBezTo>
                  <a:pt x="1085621" y="1611397"/>
                  <a:pt x="1089748" y="1613461"/>
                  <a:pt x="1092844" y="1619653"/>
                </a:cubicBezTo>
                <a:cubicBezTo>
                  <a:pt x="1102648" y="1639776"/>
                  <a:pt x="1115031" y="1658351"/>
                  <a:pt x="1117095" y="1681570"/>
                </a:cubicBezTo>
                <a:cubicBezTo>
                  <a:pt x="1118127" y="1690342"/>
                  <a:pt x="1121739" y="1692922"/>
                  <a:pt x="1130511" y="1690858"/>
                </a:cubicBezTo>
                <a:cubicBezTo>
                  <a:pt x="1152698" y="1685698"/>
                  <a:pt x="1174885" y="1680022"/>
                  <a:pt x="1196556" y="1673315"/>
                </a:cubicBezTo>
                <a:cubicBezTo>
                  <a:pt x="1206359" y="1670219"/>
                  <a:pt x="1209455" y="1666607"/>
                  <a:pt x="1204811" y="1656803"/>
                </a:cubicBezTo>
                <a:cubicBezTo>
                  <a:pt x="1200168" y="1643904"/>
                  <a:pt x="1196556" y="1627393"/>
                  <a:pt x="1198104" y="1613977"/>
                </a:cubicBezTo>
                <a:close/>
              </a:path>
            </a:pathLst>
          </a:custGeom>
          <a:solidFill>
            <a:schemeClr val="bg1"/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/>
          <p:cNvSpPr/>
          <p:nvPr userDrawn="1"/>
        </p:nvSpPr>
        <p:spPr>
          <a:xfrm rot="10800000" flipH="1">
            <a:off x="936003" y="1609750"/>
            <a:ext cx="242109" cy="240845"/>
          </a:xfrm>
          <a:custGeom>
            <a:avLst/>
            <a:gdLst>
              <a:gd name="connsiteX0" fmla="*/ 185362 w 237706"/>
              <a:gd name="connsiteY0" fmla="*/ 130458 h 236466"/>
              <a:gd name="connsiteX1" fmla="*/ 237706 w 237706"/>
              <a:gd name="connsiteY1" fmla="*/ 130458 h 236466"/>
              <a:gd name="connsiteX2" fmla="*/ 234128 w 237706"/>
              <a:gd name="connsiteY2" fmla="*/ 154126 h 236466"/>
              <a:gd name="connsiteX3" fmla="*/ 165835 w 237706"/>
              <a:gd name="connsiteY3" fmla="*/ 229449 h 236466"/>
              <a:gd name="connsiteX4" fmla="*/ 131078 w 237706"/>
              <a:gd name="connsiteY4" fmla="*/ 236466 h 236466"/>
              <a:gd name="connsiteX5" fmla="*/ 131078 w 237706"/>
              <a:gd name="connsiteY5" fmla="*/ 186008 h 236466"/>
              <a:gd name="connsiteX6" fmla="*/ 146195 w 237706"/>
              <a:gd name="connsiteY6" fmla="*/ 182956 h 236466"/>
              <a:gd name="connsiteX7" fmla="*/ 177100 w 237706"/>
              <a:gd name="connsiteY7" fmla="*/ 157507 h 236466"/>
              <a:gd name="connsiteX8" fmla="*/ 0 w 237706"/>
              <a:gd name="connsiteY8" fmla="*/ 130458 h 236466"/>
              <a:gd name="connsiteX9" fmla="*/ 52344 w 237706"/>
              <a:gd name="connsiteY9" fmla="*/ 130458 h 236466"/>
              <a:gd name="connsiteX10" fmla="*/ 60606 w 237706"/>
              <a:gd name="connsiteY10" fmla="*/ 157507 h 236466"/>
              <a:gd name="connsiteX11" fmla="*/ 91511 w 237706"/>
              <a:gd name="connsiteY11" fmla="*/ 182956 h 236466"/>
              <a:gd name="connsiteX12" fmla="*/ 106628 w 237706"/>
              <a:gd name="connsiteY12" fmla="*/ 186008 h 236466"/>
              <a:gd name="connsiteX13" fmla="*/ 106628 w 237706"/>
              <a:gd name="connsiteY13" fmla="*/ 236466 h 236466"/>
              <a:gd name="connsiteX14" fmla="*/ 71871 w 237706"/>
              <a:gd name="connsiteY14" fmla="*/ 229449 h 236466"/>
              <a:gd name="connsiteX15" fmla="*/ 3579 w 237706"/>
              <a:gd name="connsiteY15" fmla="*/ 154126 h 236466"/>
              <a:gd name="connsiteX16" fmla="*/ 131078 w 237706"/>
              <a:gd name="connsiteY16" fmla="*/ 0 h 236466"/>
              <a:gd name="connsiteX17" fmla="*/ 165835 w 237706"/>
              <a:gd name="connsiteY17" fmla="*/ 7017 h 236466"/>
              <a:gd name="connsiteX18" fmla="*/ 234128 w 237706"/>
              <a:gd name="connsiteY18" fmla="*/ 82340 h 236466"/>
              <a:gd name="connsiteX19" fmla="*/ 237706 w 237706"/>
              <a:gd name="connsiteY19" fmla="*/ 106008 h 236466"/>
              <a:gd name="connsiteX20" fmla="*/ 185362 w 237706"/>
              <a:gd name="connsiteY20" fmla="*/ 106008 h 236466"/>
              <a:gd name="connsiteX21" fmla="*/ 177100 w 237706"/>
              <a:gd name="connsiteY21" fmla="*/ 78960 h 236466"/>
              <a:gd name="connsiteX22" fmla="*/ 146195 w 237706"/>
              <a:gd name="connsiteY22" fmla="*/ 53510 h 236466"/>
              <a:gd name="connsiteX23" fmla="*/ 131078 w 237706"/>
              <a:gd name="connsiteY23" fmla="*/ 50458 h 236466"/>
              <a:gd name="connsiteX24" fmla="*/ 106628 w 237706"/>
              <a:gd name="connsiteY24" fmla="*/ 0 h 236466"/>
              <a:gd name="connsiteX25" fmla="*/ 106628 w 237706"/>
              <a:gd name="connsiteY25" fmla="*/ 50458 h 236466"/>
              <a:gd name="connsiteX26" fmla="*/ 91511 w 237706"/>
              <a:gd name="connsiteY26" fmla="*/ 53510 h 236466"/>
              <a:gd name="connsiteX27" fmla="*/ 60606 w 237706"/>
              <a:gd name="connsiteY27" fmla="*/ 78960 h 236466"/>
              <a:gd name="connsiteX28" fmla="*/ 52344 w 237706"/>
              <a:gd name="connsiteY28" fmla="*/ 106008 h 236466"/>
              <a:gd name="connsiteX29" fmla="*/ 0 w 237706"/>
              <a:gd name="connsiteY29" fmla="*/ 106008 h 236466"/>
              <a:gd name="connsiteX30" fmla="*/ 3579 w 237706"/>
              <a:gd name="connsiteY30" fmla="*/ 82340 h 236466"/>
              <a:gd name="connsiteX31" fmla="*/ 71871 w 237706"/>
              <a:gd name="connsiteY31" fmla="*/ 7017 h 23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37706" h="236466">
                <a:moveTo>
                  <a:pt x="185362" y="130458"/>
                </a:moveTo>
                <a:lnTo>
                  <a:pt x="237706" y="130458"/>
                </a:lnTo>
                <a:lnTo>
                  <a:pt x="234128" y="154126"/>
                </a:lnTo>
                <a:cubicBezTo>
                  <a:pt x="223548" y="188141"/>
                  <a:pt x="198326" y="215706"/>
                  <a:pt x="165835" y="229449"/>
                </a:cubicBezTo>
                <a:lnTo>
                  <a:pt x="131078" y="236466"/>
                </a:lnTo>
                <a:lnTo>
                  <a:pt x="131078" y="186008"/>
                </a:lnTo>
                <a:lnTo>
                  <a:pt x="146195" y="182956"/>
                </a:lnTo>
                <a:cubicBezTo>
                  <a:pt x="158800" y="177624"/>
                  <a:pt x="169526" y="168717"/>
                  <a:pt x="177100" y="157507"/>
                </a:cubicBezTo>
                <a:close/>
                <a:moveTo>
                  <a:pt x="0" y="130458"/>
                </a:moveTo>
                <a:lnTo>
                  <a:pt x="52344" y="130458"/>
                </a:lnTo>
                <a:lnTo>
                  <a:pt x="60606" y="157507"/>
                </a:lnTo>
                <a:cubicBezTo>
                  <a:pt x="68180" y="168717"/>
                  <a:pt x="78906" y="177624"/>
                  <a:pt x="91511" y="182956"/>
                </a:cubicBezTo>
                <a:lnTo>
                  <a:pt x="106628" y="186008"/>
                </a:lnTo>
                <a:lnTo>
                  <a:pt x="106628" y="236466"/>
                </a:lnTo>
                <a:lnTo>
                  <a:pt x="71871" y="229449"/>
                </a:lnTo>
                <a:cubicBezTo>
                  <a:pt x="39380" y="215706"/>
                  <a:pt x="14159" y="188141"/>
                  <a:pt x="3579" y="154126"/>
                </a:cubicBezTo>
                <a:close/>
                <a:moveTo>
                  <a:pt x="131078" y="0"/>
                </a:moveTo>
                <a:lnTo>
                  <a:pt x="165835" y="7017"/>
                </a:lnTo>
                <a:cubicBezTo>
                  <a:pt x="198326" y="20760"/>
                  <a:pt x="223548" y="48325"/>
                  <a:pt x="234128" y="82340"/>
                </a:cubicBezTo>
                <a:lnTo>
                  <a:pt x="237706" y="106008"/>
                </a:lnTo>
                <a:lnTo>
                  <a:pt x="185362" y="106008"/>
                </a:lnTo>
                <a:lnTo>
                  <a:pt x="177100" y="78960"/>
                </a:lnTo>
                <a:cubicBezTo>
                  <a:pt x="169526" y="67749"/>
                  <a:pt x="158800" y="58842"/>
                  <a:pt x="146195" y="53510"/>
                </a:cubicBezTo>
                <a:lnTo>
                  <a:pt x="131078" y="50458"/>
                </a:lnTo>
                <a:close/>
                <a:moveTo>
                  <a:pt x="106628" y="0"/>
                </a:moveTo>
                <a:lnTo>
                  <a:pt x="106628" y="50458"/>
                </a:lnTo>
                <a:lnTo>
                  <a:pt x="91511" y="53510"/>
                </a:lnTo>
                <a:cubicBezTo>
                  <a:pt x="78906" y="58842"/>
                  <a:pt x="68180" y="67749"/>
                  <a:pt x="60606" y="78960"/>
                </a:cubicBezTo>
                <a:lnTo>
                  <a:pt x="52344" y="106008"/>
                </a:lnTo>
                <a:lnTo>
                  <a:pt x="0" y="106008"/>
                </a:lnTo>
                <a:lnTo>
                  <a:pt x="3579" y="82340"/>
                </a:lnTo>
                <a:cubicBezTo>
                  <a:pt x="14159" y="48325"/>
                  <a:pt x="39380" y="20760"/>
                  <a:pt x="71871" y="70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Oval 52"/>
          <p:cNvSpPr/>
          <p:nvPr userDrawn="1"/>
        </p:nvSpPr>
        <p:spPr>
          <a:xfrm rot="10800000" flipH="1">
            <a:off x="1016764" y="1689879"/>
            <a:ext cx="80588" cy="80588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: Top Corners Rounded 53"/>
          <p:cNvSpPr/>
          <p:nvPr userDrawn="1"/>
        </p:nvSpPr>
        <p:spPr>
          <a:xfrm rot="10800000" flipH="1">
            <a:off x="478272" y="255586"/>
            <a:ext cx="1246034" cy="7118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: Top Corners Rounded 54"/>
          <p:cNvSpPr/>
          <p:nvPr userDrawn="1"/>
        </p:nvSpPr>
        <p:spPr>
          <a:xfrm rot="10800000" flipH="1">
            <a:off x="640963" y="322185"/>
            <a:ext cx="920653" cy="25603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/>
          <p:cNvSpPr txBox="1"/>
          <p:nvPr userDrawn="1"/>
        </p:nvSpPr>
        <p:spPr>
          <a:xfrm>
            <a:off x="292045" y="6035759"/>
            <a:ext cx="3434108" cy="500056"/>
          </a:xfrm>
          <a:custGeom>
            <a:avLst/>
            <a:gdLst>
              <a:gd name="connsiteX0" fmla="*/ 918715 w 3349328"/>
              <a:gd name="connsiteY0" fmla="*/ 111816 h 487710"/>
              <a:gd name="connsiteX1" fmla="*/ 918715 w 3349328"/>
              <a:gd name="connsiteY1" fmla="*/ 374535 h 487710"/>
              <a:gd name="connsiteX2" fmla="*/ 946303 w 3349328"/>
              <a:gd name="connsiteY2" fmla="*/ 374535 h 487710"/>
              <a:gd name="connsiteX3" fmla="*/ 1052905 w 3349328"/>
              <a:gd name="connsiteY3" fmla="*/ 327170 h 487710"/>
              <a:gd name="connsiteX4" fmla="*/ 1079813 w 3349328"/>
              <a:gd name="connsiteY4" fmla="*/ 243005 h 487710"/>
              <a:gd name="connsiteX5" fmla="*/ 1052905 w 3349328"/>
              <a:gd name="connsiteY5" fmla="*/ 159181 h 487710"/>
              <a:gd name="connsiteX6" fmla="*/ 946303 w 3349328"/>
              <a:gd name="connsiteY6" fmla="*/ 111816 h 487710"/>
              <a:gd name="connsiteX7" fmla="*/ 2629830 w 3349328"/>
              <a:gd name="connsiteY7" fmla="*/ 102981 h 487710"/>
              <a:gd name="connsiteX8" fmla="*/ 2629830 w 3349328"/>
              <a:gd name="connsiteY8" fmla="*/ 218535 h 487710"/>
              <a:gd name="connsiteX9" fmla="*/ 2652342 w 3349328"/>
              <a:gd name="connsiteY9" fmla="*/ 218535 h 487710"/>
              <a:gd name="connsiteX10" fmla="*/ 2707256 w 3349328"/>
              <a:gd name="connsiteY10" fmla="*/ 202610 h 487710"/>
              <a:gd name="connsiteX11" fmla="*/ 2725333 w 3349328"/>
              <a:gd name="connsiteY11" fmla="*/ 160588 h 487710"/>
              <a:gd name="connsiteX12" fmla="*/ 2707256 w 3349328"/>
              <a:gd name="connsiteY12" fmla="*/ 118906 h 487710"/>
              <a:gd name="connsiteX13" fmla="*/ 2652342 w 3349328"/>
              <a:gd name="connsiteY13" fmla="*/ 102981 h 487710"/>
              <a:gd name="connsiteX14" fmla="*/ 222349 w 3349328"/>
              <a:gd name="connsiteY14" fmla="*/ 23791 h 487710"/>
              <a:gd name="connsiteX15" fmla="*/ 343001 w 3349328"/>
              <a:gd name="connsiteY15" fmla="*/ 23791 h 487710"/>
              <a:gd name="connsiteX16" fmla="*/ 564934 w 3349328"/>
              <a:gd name="connsiteY16" fmla="*/ 307580 h 487710"/>
              <a:gd name="connsiteX17" fmla="*/ 564934 w 3349328"/>
              <a:gd name="connsiteY17" fmla="*/ 23791 h 487710"/>
              <a:gd name="connsiteX18" fmla="*/ 685587 w 3349328"/>
              <a:gd name="connsiteY18" fmla="*/ 23791 h 487710"/>
              <a:gd name="connsiteX19" fmla="*/ 685587 w 3349328"/>
              <a:gd name="connsiteY19" fmla="*/ 487710 h 487710"/>
              <a:gd name="connsiteX20" fmla="*/ 564934 w 3349328"/>
              <a:gd name="connsiteY20" fmla="*/ 487710 h 487710"/>
              <a:gd name="connsiteX21" fmla="*/ 343001 w 3349328"/>
              <a:gd name="connsiteY21" fmla="*/ 203580 h 487710"/>
              <a:gd name="connsiteX22" fmla="*/ 343001 w 3349328"/>
              <a:gd name="connsiteY22" fmla="*/ 487710 h 487710"/>
              <a:gd name="connsiteX23" fmla="*/ 222349 w 3349328"/>
              <a:gd name="connsiteY23" fmla="*/ 487710 h 487710"/>
              <a:gd name="connsiteX24" fmla="*/ 0 w 3349328"/>
              <a:gd name="connsiteY24" fmla="*/ 23791 h 487710"/>
              <a:gd name="connsiteX25" fmla="*/ 120653 w 3349328"/>
              <a:gd name="connsiteY25" fmla="*/ 23791 h 487710"/>
              <a:gd name="connsiteX26" fmla="*/ 120653 w 3349328"/>
              <a:gd name="connsiteY26" fmla="*/ 487710 h 487710"/>
              <a:gd name="connsiteX27" fmla="*/ 0 w 3349328"/>
              <a:gd name="connsiteY27" fmla="*/ 487710 h 487710"/>
              <a:gd name="connsiteX28" fmla="*/ 2887110 w 3349328"/>
              <a:gd name="connsiteY28" fmla="*/ 11217 h 487710"/>
              <a:gd name="connsiteX29" fmla="*/ 3031213 w 3349328"/>
              <a:gd name="connsiteY29" fmla="*/ 11217 h 487710"/>
              <a:gd name="connsiteX30" fmla="*/ 3118899 w 3349328"/>
              <a:gd name="connsiteY30" fmla="*/ 137647 h 487710"/>
              <a:gd name="connsiteX31" fmla="*/ 3203186 w 3349328"/>
              <a:gd name="connsiteY31" fmla="*/ 11217 h 487710"/>
              <a:gd name="connsiteX32" fmla="*/ 3349328 w 3349328"/>
              <a:gd name="connsiteY32" fmla="*/ 11217 h 487710"/>
              <a:gd name="connsiteX33" fmla="*/ 3175657 w 3349328"/>
              <a:gd name="connsiteY33" fmla="*/ 252183 h 487710"/>
              <a:gd name="connsiteX34" fmla="*/ 3175657 w 3349328"/>
              <a:gd name="connsiteY34" fmla="*/ 475135 h 487710"/>
              <a:gd name="connsiteX35" fmla="*/ 3055003 w 3349328"/>
              <a:gd name="connsiteY35" fmla="*/ 475135 h 487710"/>
              <a:gd name="connsiteX36" fmla="*/ 3055003 w 3349328"/>
              <a:gd name="connsiteY36" fmla="*/ 252183 h 487710"/>
              <a:gd name="connsiteX37" fmla="*/ 2509178 w 3349328"/>
              <a:gd name="connsiteY37" fmla="*/ 11217 h 487710"/>
              <a:gd name="connsiteX38" fmla="*/ 2696784 w 3349328"/>
              <a:gd name="connsiteY38" fmla="*/ 11217 h 487710"/>
              <a:gd name="connsiteX39" fmla="*/ 2818457 w 3349328"/>
              <a:gd name="connsiteY39" fmla="*/ 60497 h 487710"/>
              <a:gd name="connsiteX40" fmla="*/ 2850405 w 3349328"/>
              <a:gd name="connsiteY40" fmla="*/ 153960 h 487710"/>
              <a:gd name="connsiteX41" fmla="*/ 2813699 w 3349328"/>
              <a:gd name="connsiteY41" fmla="*/ 252183 h 487710"/>
              <a:gd name="connsiteX42" fmla="*/ 2749123 w 3349328"/>
              <a:gd name="connsiteY42" fmla="*/ 284810 h 487710"/>
              <a:gd name="connsiteX43" fmla="*/ 2894927 w 3349328"/>
              <a:gd name="connsiteY43" fmla="*/ 475135 h 487710"/>
              <a:gd name="connsiteX44" fmla="*/ 2745046 w 3349328"/>
              <a:gd name="connsiteY44" fmla="*/ 475135 h 487710"/>
              <a:gd name="connsiteX45" fmla="*/ 2629830 w 3349328"/>
              <a:gd name="connsiteY45" fmla="*/ 297045 h 487710"/>
              <a:gd name="connsiteX46" fmla="*/ 2629830 w 3349328"/>
              <a:gd name="connsiteY46" fmla="*/ 475135 h 487710"/>
              <a:gd name="connsiteX47" fmla="*/ 2509178 w 3349328"/>
              <a:gd name="connsiteY47" fmla="*/ 475135 h 487710"/>
              <a:gd name="connsiteX48" fmla="*/ 2136647 w 3349328"/>
              <a:gd name="connsiteY48" fmla="*/ 11217 h 487710"/>
              <a:gd name="connsiteX49" fmla="*/ 2455441 w 3349328"/>
              <a:gd name="connsiteY49" fmla="*/ 11217 h 487710"/>
              <a:gd name="connsiteX50" fmla="*/ 2455441 w 3349328"/>
              <a:gd name="connsiteY50" fmla="*/ 111816 h 487710"/>
              <a:gd name="connsiteX51" fmla="*/ 2355520 w 3349328"/>
              <a:gd name="connsiteY51" fmla="*/ 111816 h 487710"/>
              <a:gd name="connsiteX52" fmla="*/ 2355520 w 3349328"/>
              <a:gd name="connsiteY52" fmla="*/ 475135 h 487710"/>
              <a:gd name="connsiteX53" fmla="*/ 2234868 w 3349328"/>
              <a:gd name="connsiteY53" fmla="*/ 475135 h 487710"/>
              <a:gd name="connsiteX54" fmla="*/ 2234868 w 3349328"/>
              <a:gd name="connsiteY54" fmla="*/ 111816 h 487710"/>
              <a:gd name="connsiteX55" fmla="*/ 2136647 w 3349328"/>
              <a:gd name="connsiteY55" fmla="*/ 111816 h 487710"/>
              <a:gd name="connsiteX56" fmla="*/ 1281429 w 3349328"/>
              <a:gd name="connsiteY56" fmla="*/ 11217 h 487710"/>
              <a:gd name="connsiteX57" fmla="*/ 1402081 w 3349328"/>
              <a:gd name="connsiteY57" fmla="*/ 11217 h 487710"/>
              <a:gd name="connsiteX58" fmla="*/ 1402081 w 3349328"/>
              <a:gd name="connsiteY58" fmla="*/ 262151 h 487710"/>
              <a:gd name="connsiteX59" fmla="*/ 1403101 w 3349328"/>
              <a:gd name="connsiteY59" fmla="*/ 307310 h 487710"/>
              <a:gd name="connsiteX60" fmla="*/ 1446264 w 3349328"/>
              <a:gd name="connsiteY60" fmla="*/ 373180 h 487710"/>
              <a:gd name="connsiteX61" fmla="*/ 1482289 w 3349328"/>
              <a:gd name="connsiteY61" fmla="*/ 380992 h 487710"/>
              <a:gd name="connsiteX62" fmla="*/ 1548903 w 3349328"/>
              <a:gd name="connsiteY62" fmla="*/ 350091 h 487710"/>
              <a:gd name="connsiteX63" fmla="*/ 1565557 w 3349328"/>
              <a:gd name="connsiteY63" fmla="*/ 262151 h 487710"/>
              <a:gd name="connsiteX64" fmla="*/ 1565557 w 3349328"/>
              <a:gd name="connsiteY64" fmla="*/ 11217 h 487710"/>
              <a:gd name="connsiteX65" fmla="*/ 1686210 w 3349328"/>
              <a:gd name="connsiteY65" fmla="*/ 11217 h 487710"/>
              <a:gd name="connsiteX66" fmla="*/ 1686210 w 3349328"/>
              <a:gd name="connsiteY66" fmla="*/ 278692 h 487710"/>
              <a:gd name="connsiteX67" fmla="*/ 1679413 w 3349328"/>
              <a:gd name="connsiteY67" fmla="*/ 350064 h 487710"/>
              <a:gd name="connsiteX68" fmla="*/ 1629112 w 3349328"/>
              <a:gd name="connsiteY68" fmla="*/ 433672 h 487710"/>
              <a:gd name="connsiteX69" fmla="*/ 1478212 w 3349328"/>
              <a:gd name="connsiteY69" fmla="*/ 487030 h 487710"/>
              <a:gd name="connsiteX70" fmla="*/ 1327990 w 3349328"/>
              <a:gd name="connsiteY70" fmla="*/ 432652 h 487710"/>
              <a:gd name="connsiteX71" fmla="*/ 1288906 w 3349328"/>
              <a:gd name="connsiteY71" fmla="*/ 360940 h 487710"/>
              <a:gd name="connsiteX72" fmla="*/ 1281429 w 3349328"/>
              <a:gd name="connsiteY72" fmla="*/ 278692 h 487710"/>
              <a:gd name="connsiteX73" fmla="*/ 798063 w 3349328"/>
              <a:gd name="connsiteY73" fmla="*/ 11217 h 487710"/>
              <a:gd name="connsiteX74" fmla="*/ 976153 w 3349328"/>
              <a:gd name="connsiteY74" fmla="*/ 11217 h 487710"/>
              <a:gd name="connsiteX75" fmla="*/ 1097146 w 3349328"/>
              <a:gd name="connsiteY75" fmla="*/ 47581 h 487710"/>
              <a:gd name="connsiteX76" fmla="*/ 1181093 w 3349328"/>
              <a:gd name="connsiteY76" fmla="*/ 142065 h 487710"/>
              <a:gd name="connsiteX77" fmla="*/ 1204883 w 3349328"/>
              <a:gd name="connsiteY77" fmla="*/ 243005 h 487710"/>
              <a:gd name="connsiteX78" fmla="*/ 1161210 w 3349328"/>
              <a:gd name="connsiteY78" fmla="*/ 377084 h 487710"/>
              <a:gd name="connsiteX79" fmla="*/ 1049564 w 3349328"/>
              <a:gd name="connsiteY79" fmla="*/ 462560 h 487710"/>
              <a:gd name="connsiteX80" fmla="*/ 976153 w 3349328"/>
              <a:gd name="connsiteY80" fmla="*/ 475135 h 487710"/>
              <a:gd name="connsiteX81" fmla="*/ 798063 w 3349328"/>
              <a:gd name="connsiteY81" fmla="*/ 475135 h 487710"/>
              <a:gd name="connsiteX82" fmla="*/ 1939788 w 3349328"/>
              <a:gd name="connsiteY82" fmla="*/ 0 h 487710"/>
              <a:gd name="connsiteX83" fmla="*/ 2086950 w 3349328"/>
              <a:gd name="connsiteY83" fmla="*/ 37726 h 487710"/>
              <a:gd name="connsiteX84" fmla="*/ 2038689 w 3349328"/>
              <a:gd name="connsiteY84" fmla="*/ 131529 h 487710"/>
              <a:gd name="connsiteX85" fmla="*/ 1958953 w 3349328"/>
              <a:gd name="connsiteY85" fmla="*/ 100602 h 487710"/>
              <a:gd name="connsiteX86" fmla="*/ 1924196 w 3349328"/>
              <a:gd name="connsiteY86" fmla="*/ 110494 h 487710"/>
              <a:gd name="connsiteX87" fmla="*/ 1906822 w 3349328"/>
              <a:gd name="connsiteY87" fmla="*/ 140514 h 487710"/>
              <a:gd name="connsiteX88" fmla="*/ 1929629 w 3349328"/>
              <a:gd name="connsiteY88" fmla="*/ 172233 h 487710"/>
              <a:gd name="connsiteX89" fmla="*/ 1990911 w 3349328"/>
              <a:gd name="connsiteY89" fmla="*/ 193384 h 487710"/>
              <a:gd name="connsiteX90" fmla="*/ 2082150 w 3349328"/>
              <a:gd name="connsiteY90" fmla="*/ 246468 h 487710"/>
              <a:gd name="connsiteX91" fmla="*/ 2105644 w 3349328"/>
              <a:gd name="connsiteY91" fmla="*/ 321663 h 487710"/>
              <a:gd name="connsiteX92" fmla="*/ 2002323 w 3349328"/>
              <a:gd name="connsiteY92" fmla="*/ 475119 h 487710"/>
              <a:gd name="connsiteX93" fmla="*/ 1924834 w 3349328"/>
              <a:gd name="connsiteY93" fmla="*/ 487710 h 487710"/>
              <a:gd name="connsiteX94" fmla="*/ 1763397 w 3349328"/>
              <a:gd name="connsiteY94" fmla="*/ 435031 h 487710"/>
              <a:gd name="connsiteX95" fmla="*/ 1815056 w 3349328"/>
              <a:gd name="connsiteY95" fmla="*/ 337828 h 487710"/>
              <a:gd name="connsiteX96" fmla="*/ 1921653 w 3349328"/>
              <a:gd name="connsiteY96" fmla="*/ 387110 h 487710"/>
              <a:gd name="connsiteX97" fmla="*/ 1961503 w 3349328"/>
              <a:gd name="connsiteY97" fmla="*/ 376122 h 487710"/>
              <a:gd name="connsiteX98" fmla="*/ 1980572 w 3349328"/>
              <a:gd name="connsiteY98" fmla="*/ 341106 h 487710"/>
              <a:gd name="connsiteX99" fmla="*/ 1959463 w 3349328"/>
              <a:gd name="connsiteY99" fmla="*/ 306773 h 487710"/>
              <a:gd name="connsiteX100" fmla="*/ 1906693 w 3349328"/>
              <a:gd name="connsiteY100" fmla="*/ 285828 h 487710"/>
              <a:gd name="connsiteX101" fmla="*/ 1850180 w 3349328"/>
              <a:gd name="connsiteY101" fmla="*/ 267498 h 487710"/>
              <a:gd name="connsiteX102" fmla="*/ 1818860 w 3349328"/>
              <a:gd name="connsiteY102" fmla="*/ 249165 h 487710"/>
              <a:gd name="connsiteX103" fmla="*/ 1781750 w 3349328"/>
              <a:gd name="connsiteY103" fmla="*/ 156833 h 487710"/>
              <a:gd name="connsiteX104" fmla="*/ 1820155 w 3349328"/>
              <a:gd name="connsiteY104" fmla="*/ 49903 h 487710"/>
              <a:gd name="connsiteX105" fmla="*/ 1939788 w 3349328"/>
              <a:gd name="connsiteY105" fmla="*/ 0 h 48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3349328" h="487710">
                <a:moveTo>
                  <a:pt x="918715" y="111816"/>
                </a:moveTo>
                <a:lnTo>
                  <a:pt x="918715" y="374535"/>
                </a:lnTo>
                <a:lnTo>
                  <a:pt x="946303" y="374535"/>
                </a:lnTo>
                <a:cubicBezTo>
                  <a:pt x="993757" y="374535"/>
                  <a:pt x="1029291" y="358747"/>
                  <a:pt x="1052905" y="327170"/>
                </a:cubicBezTo>
                <a:cubicBezTo>
                  <a:pt x="1070843" y="303090"/>
                  <a:pt x="1079813" y="275035"/>
                  <a:pt x="1079813" y="243005"/>
                </a:cubicBezTo>
                <a:cubicBezTo>
                  <a:pt x="1079813" y="210977"/>
                  <a:pt x="1070843" y="183035"/>
                  <a:pt x="1052905" y="159181"/>
                </a:cubicBezTo>
                <a:cubicBezTo>
                  <a:pt x="1029065" y="127605"/>
                  <a:pt x="993530" y="111816"/>
                  <a:pt x="946303" y="111816"/>
                </a:cubicBezTo>
                <a:close/>
                <a:moveTo>
                  <a:pt x="2629830" y="102981"/>
                </a:moveTo>
                <a:lnTo>
                  <a:pt x="2629830" y="218535"/>
                </a:lnTo>
                <a:lnTo>
                  <a:pt x="2652342" y="218535"/>
                </a:lnTo>
                <a:cubicBezTo>
                  <a:pt x="2677810" y="218535"/>
                  <a:pt x="2696115" y="213227"/>
                  <a:pt x="2707256" y="202610"/>
                </a:cubicBezTo>
                <a:cubicBezTo>
                  <a:pt x="2719308" y="191085"/>
                  <a:pt x="2725333" y="177079"/>
                  <a:pt x="2725333" y="160588"/>
                </a:cubicBezTo>
                <a:cubicBezTo>
                  <a:pt x="2725333" y="144097"/>
                  <a:pt x="2719308" y="130203"/>
                  <a:pt x="2707256" y="118906"/>
                </a:cubicBezTo>
                <a:cubicBezTo>
                  <a:pt x="2695885" y="108289"/>
                  <a:pt x="2677580" y="102981"/>
                  <a:pt x="2652342" y="102981"/>
                </a:cubicBezTo>
                <a:close/>
                <a:moveTo>
                  <a:pt x="222349" y="23791"/>
                </a:moveTo>
                <a:lnTo>
                  <a:pt x="343001" y="23791"/>
                </a:lnTo>
                <a:lnTo>
                  <a:pt x="564934" y="307580"/>
                </a:lnTo>
                <a:lnTo>
                  <a:pt x="564934" y="23791"/>
                </a:lnTo>
                <a:lnTo>
                  <a:pt x="685587" y="23791"/>
                </a:lnTo>
                <a:lnTo>
                  <a:pt x="685587" y="487710"/>
                </a:lnTo>
                <a:lnTo>
                  <a:pt x="564934" y="487710"/>
                </a:lnTo>
                <a:lnTo>
                  <a:pt x="343001" y="203580"/>
                </a:lnTo>
                <a:lnTo>
                  <a:pt x="343001" y="487710"/>
                </a:lnTo>
                <a:lnTo>
                  <a:pt x="222349" y="487710"/>
                </a:lnTo>
                <a:close/>
                <a:moveTo>
                  <a:pt x="0" y="23791"/>
                </a:moveTo>
                <a:lnTo>
                  <a:pt x="120653" y="23791"/>
                </a:lnTo>
                <a:lnTo>
                  <a:pt x="120653" y="487710"/>
                </a:lnTo>
                <a:lnTo>
                  <a:pt x="0" y="487710"/>
                </a:lnTo>
                <a:close/>
                <a:moveTo>
                  <a:pt x="2887110" y="11217"/>
                </a:moveTo>
                <a:lnTo>
                  <a:pt x="3031213" y="11217"/>
                </a:lnTo>
                <a:lnTo>
                  <a:pt x="3118899" y="137647"/>
                </a:lnTo>
                <a:lnTo>
                  <a:pt x="3203186" y="11217"/>
                </a:lnTo>
                <a:lnTo>
                  <a:pt x="3349328" y="11217"/>
                </a:lnTo>
                <a:lnTo>
                  <a:pt x="3175657" y="252183"/>
                </a:lnTo>
                <a:lnTo>
                  <a:pt x="3175657" y="475135"/>
                </a:lnTo>
                <a:lnTo>
                  <a:pt x="3055003" y="475135"/>
                </a:lnTo>
                <a:lnTo>
                  <a:pt x="3055003" y="252183"/>
                </a:lnTo>
                <a:close/>
                <a:moveTo>
                  <a:pt x="2509178" y="11217"/>
                </a:moveTo>
                <a:lnTo>
                  <a:pt x="2696784" y="11217"/>
                </a:lnTo>
                <a:cubicBezTo>
                  <a:pt x="2751617" y="11217"/>
                  <a:pt x="2792173" y="27643"/>
                  <a:pt x="2818457" y="60497"/>
                </a:cubicBezTo>
                <a:cubicBezTo>
                  <a:pt x="2839755" y="87006"/>
                  <a:pt x="2850405" y="118161"/>
                  <a:pt x="2850405" y="153960"/>
                </a:cubicBezTo>
                <a:cubicBezTo>
                  <a:pt x="2850405" y="194971"/>
                  <a:pt x="2838170" y="227712"/>
                  <a:pt x="2813699" y="252183"/>
                </a:cubicBezTo>
                <a:cubicBezTo>
                  <a:pt x="2798065" y="267816"/>
                  <a:pt x="2776540" y="278692"/>
                  <a:pt x="2749123" y="284810"/>
                </a:cubicBezTo>
                <a:lnTo>
                  <a:pt x="2894927" y="475135"/>
                </a:lnTo>
                <a:lnTo>
                  <a:pt x="2745046" y="475135"/>
                </a:lnTo>
                <a:lnTo>
                  <a:pt x="2629830" y="297045"/>
                </a:lnTo>
                <a:lnTo>
                  <a:pt x="2629830" y="475135"/>
                </a:lnTo>
                <a:lnTo>
                  <a:pt x="2509178" y="475135"/>
                </a:lnTo>
                <a:close/>
                <a:moveTo>
                  <a:pt x="2136647" y="11217"/>
                </a:moveTo>
                <a:lnTo>
                  <a:pt x="2455441" y="11217"/>
                </a:lnTo>
                <a:lnTo>
                  <a:pt x="2455441" y="111816"/>
                </a:lnTo>
                <a:lnTo>
                  <a:pt x="2355520" y="111816"/>
                </a:lnTo>
                <a:lnTo>
                  <a:pt x="2355520" y="475135"/>
                </a:lnTo>
                <a:lnTo>
                  <a:pt x="2234868" y="475135"/>
                </a:lnTo>
                <a:lnTo>
                  <a:pt x="2234868" y="111816"/>
                </a:lnTo>
                <a:lnTo>
                  <a:pt x="2136647" y="111816"/>
                </a:lnTo>
                <a:close/>
                <a:moveTo>
                  <a:pt x="1281429" y="11217"/>
                </a:moveTo>
                <a:lnTo>
                  <a:pt x="1402081" y="11217"/>
                </a:lnTo>
                <a:lnTo>
                  <a:pt x="1402081" y="262151"/>
                </a:lnTo>
                <a:cubicBezTo>
                  <a:pt x="1402081" y="282294"/>
                  <a:pt x="1402421" y="297347"/>
                  <a:pt x="1403101" y="307310"/>
                </a:cubicBezTo>
                <a:cubicBezTo>
                  <a:pt x="1405367" y="338775"/>
                  <a:pt x="1419754" y="360733"/>
                  <a:pt x="1446264" y="373180"/>
                </a:cubicBezTo>
                <a:cubicBezTo>
                  <a:pt x="1457139" y="378388"/>
                  <a:pt x="1469148" y="380992"/>
                  <a:pt x="1482289" y="380992"/>
                </a:cubicBezTo>
                <a:cubicBezTo>
                  <a:pt x="1511745" y="380992"/>
                  <a:pt x="1533949" y="370691"/>
                  <a:pt x="1548903" y="350091"/>
                </a:cubicBezTo>
                <a:cubicBezTo>
                  <a:pt x="1560006" y="334924"/>
                  <a:pt x="1565557" y="305610"/>
                  <a:pt x="1565557" y="262151"/>
                </a:cubicBezTo>
                <a:lnTo>
                  <a:pt x="1565557" y="11217"/>
                </a:lnTo>
                <a:lnTo>
                  <a:pt x="1686210" y="11217"/>
                </a:lnTo>
                <a:lnTo>
                  <a:pt x="1686210" y="278692"/>
                </a:lnTo>
                <a:cubicBezTo>
                  <a:pt x="1686210" y="306561"/>
                  <a:pt x="1683944" y="330351"/>
                  <a:pt x="1679413" y="350064"/>
                </a:cubicBezTo>
                <a:cubicBezTo>
                  <a:pt x="1672389" y="380652"/>
                  <a:pt x="1655622" y="408522"/>
                  <a:pt x="1629112" y="433672"/>
                </a:cubicBezTo>
                <a:cubicBezTo>
                  <a:pt x="1591500" y="469244"/>
                  <a:pt x="1541200" y="487030"/>
                  <a:pt x="1478212" y="487030"/>
                </a:cubicBezTo>
                <a:cubicBezTo>
                  <a:pt x="1414090" y="487030"/>
                  <a:pt x="1364016" y="468904"/>
                  <a:pt x="1327990" y="432652"/>
                </a:cubicBezTo>
                <a:cubicBezTo>
                  <a:pt x="1308958" y="413619"/>
                  <a:pt x="1295929" y="389715"/>
                  <a:pt x="1288906" y="360940"/>
                </a:cubicBezTo>
                <a:cubicBezTo>
                  <a:pt x="1283921" y="340548"/>
                  <a:pt x="1281429" y="313131"/>
                  <a:pt x="1281429" y="278692"/>
                </a:cubicBezTo>
                <a:close/>
                <a:moveTo>
                  <a:pt x="798063" y="11217"/>
                </a:moveTo>
                <a:lnTo>
                  <a:pt x="976153" y="11217"/>
                </a:lnTo>
                <a:cubicBezTo>
                  <a:pt x="1019656" y="11217"/>
                  <a:pt x="1059987" y="23337"/>
                  <a:pt x="1097146" y="47581"/>
                </a:cubicBezTo>
                <a:cubicBezTo>
                  <a:pt x="1133625" y="71146"/>
                  <a:pt x="1161607" y="102641"/>
                  <a:pt x="1181093" y="142065"/>
                </a:cubicBezTo>
                <a:cubicBezTo>
                  <a:pt x="1196954" y="174692"/>
                  <a:pt x="1204883" y="208339"/>
                  <a:pt x="1204883" y="243005"/>
                </a:cubicBezTo>
                <a:cubicBezTo>
                  <a:pt x="1204883" y="291267"/>
                  <a:pt x="1190325" y="335960"/>
                  <a:pt x="1161210" y="377084"/>
                </a:cubicBezTo>
                <a:cubicBezTo>
                  <a:pt x="1132096" y="418207"/>
                  <a:pt x="1094879" y="446699"/>
                  <a:pt x="1049564" y="462560"/>
                </a:cubicBezTo>
                <a:cubicBezTo>
                  <a:pt x="1025547" y="470943"/>
                  <a:pt x="1001077" y="475135"/>
                  <a:pt x="976153" y="475135"/>
                </a:cubicBezTo>
                <a:lnTo>
                  <a:pt x="798063" y="475135"/>
                </a:lnTo>
                <a:close/>
                <a:moveTo>
                  <a:pt x="1939788" y="0"/>
                </a:moveTo>
                <a:cubicBezTo>
                  <a:pt x="1989862" y="0"/>
                  <a:pt x="2038916" y="12575"/>
                  <a:pt x="2086950" y="37726"/>
                </a:cubicBezTo>
                <a:lnTo>
                  <a:pt x="2038689" y="131529"/>
                </a:lnTo>
                <a:cubicBezTo>
                  <a:pt x="2012339" y="110910"/>
                  <a:pt x="1985760" y="100602"/>
                  <a:pt x="1958953" y="100602"/>
                </a:cubicBezTo>
                <a:cubicBezTo>
                  <a:pt x="1946007" y="100602"/>
                  <a:pt x="1934421" y="103899"/>
                  <a:pt x="1924196" y="110494"/>
                </a:cubicBezTo>
                <a:cubicBezTo>
                  <a:pt x="1912613" y="118000"/>
                  <a:pt x="1906822" y="128007"/>
                  <a:pt x="1906822" y="140514"/>
                </a:cubicBezTo>
                <a:cubicBezTo>
                  <a:pt x="1906822" y="152792"/>
                  <a:pt x="1914423" y="163365"/>
                  <a:pt x="1929629" y="172233"/>
                </a:cubicBezTo>
                <a:cubicBezTo>
                  <a:pt x="1936440" y="176330"/>
                  <a:pt x="1956869" y="183380"/>
                  <a:pt x="1990911" y="193384"/>
                </a:cubicBezTo>
                <a:cubicBezTo>
                  <a:pt x="2033583" y="205862"/>
                  <a:pt x="2063995" y="223556"/>
                  <a:pt x="2082150" y="246468"/>
                </a:cubicBezTo>
                <a:cubicBezTo>
                  <a:pt x="2097812" y="265976"/>
                  <a:pt x="2105644" y="291040"/>
                  <a:pt x="2105644" y="321663"/>
                </a:cubicBezTo>
                <a:cubicBezTo>
                  <a:pt x="2105644" y="400148"/>
                  <a:pt x="2071204" y="451300"/>
                  <a:pt x="2002323" y="475119"/>
                </a:cubicBezTo>
                <a:cubicBezTo>
                  <a:pt x="1978306" y="483513"/>
                  <a:pt x="1952476" y="487710"/>
                  <a:pt x="1924834" y="487710"/>
                </a:cubicBezTo>
                <a:cubicBezTo>
                  <a:pt x="1866829" y="487710"/>
                  <a:pt x="1813018" y="470151"/>
                  <a:pt x="1763397" y="435031"/>
                </a:cubicBezTo>
                <a:lnTo>
                  <a:pt x="1815056" y="337828"/>
                </a:lnTo>
                <a:cubicBezTo>
                  <a:pt x="1851383" y="370682"/>
                  <a:pt x="1886915" y="387110"/>
                  <a:pt x="1921653" y="387110"/>
                </a:cubicBezTo>
                <a:cubicBezTo>
                  <a:pt x="1937319" y="387110"/>
                  <a:pt x="1950602" y="383447"/>
                  <a:pt x="1961503" y="376122"/>
                </a:cubicBezTo>
                <a:cubicBezTo>
                  <a:pt x="1974216" y="367884"/>
                  <a:pt x="1980572" y="356212"/>
                  <a:pt x="1980572" y="341106"/>
                </a:cubicBezTo>
                <a:cubicBezTo>
                  <a:pt x="1980572" y="327372"/>
                  <a:pt x="1973536" y="315929"/>
                  <a:pt x="1959463" y="306773"/>
                </a:cubicBezTo>
                <a:cubicBezTo>
                  <a:pt x="1949023" y="299905"/>
                  <a:pt x="1931433" y="292924"/>
                  <a:pt x="1906693" y="285828"/>
                </a:cubicBezTo>
                <a:cubicBezTo>
                  <a:pt x="1876736" y="277003"/>
                  <a:pt x="1857898" y="270893"/>
                  <a:pt x="1850180" y="267498"/>
                </a:cubicBezTo>
                <a:cubicBezTo>
                  <a:pt x="1837923" y="262294"/>
                  <a:pt x="1827484" y="256182"/>
                  <a:pt x="1818860" y="249165"/>
                </a:cubicBezTo>
                <a:cubicBezTo>
                  <a:pt x="1794119" y="228798"/>
                  <a:pt x="1781750" y="198021"/>
                  <a:pt x="1781750" y="156833"/>
                </a:cubicBezTo>
                <a:cubicBezTo>
                  <a:pt x="1781750" y="113833"/>
                  <a:pt x="1794552" y="78189"/>
                  <a:pt x="1820155" y="49903"/>
                </a:cubicBezTo>
                <a:cubicBezTo>
                  <a:pt x="1850063" y="16634"/>
                  <a:pt x="1889941" y="0"/>
                  <a:pt x="19397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ko-KR" altLang="en-US" sz="5400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57" name="TextBox 56"/>
          <p:cNvSpPr txBox="1"/>
          <p:nvPr userDrawn="1"/>
        </p:nvSpPr>
        <p:spPr>
          <a:xfrm>
            <a:off x="2153235" y="5199161"/>
            <a:ext cx="811572" cy="689415"/>
          </a:xfrm>
          <a:custGeom>
            <a:avLst/>
            <a:gdLst>
              <a:gd name="connsiteX0" fmla="*/ 717483 w 844822"/>
              <a:gd name="connsiteY0" fmla="*/ 542899 h 717660"/>
              <a:gd name="connsiteX1" fmla="*/ 753792 w 844822"/>
              <a:gd name="connsiteY1" fmla="*/ 536357 h 717660"/>
              <a:gd name="connsiteX2" fmla="*/ 818277 w 844822"/>
              <a:gd name="connsiteY2" fmla="*/ 562525 h 717660"/>
              <a:gd name="connsiteX3" fmla="*/ 844822 w 844822"/>
              <a:gd name="connsiteY3" fmla="*/ 626631 h 717660"/>
              <a:gd name="connsiteX4" fmla="*/ 818276 w 844822"/>
              <a:gd name="connsiteY4" fmla="*/ 691109 h 717660"/>
              <a:gd name="connsiteX5" fmla="*/ 753792 w 844822"/>
              <a:gd name="connsiteY5" fmla="*/ 717660 h 717660"/>
              <a:gd name="connsiteX6" fmla="*/ 687428 w 844822"/>
              <a:gd name="connsiteY6" fmla="*/ 691108 h 717660"/>
              <a:gd name="connsiteX7" fmla="*/ 660499 w 844822"/>
              <a:gd name="connsiteY7" fmla="*/ 626631 h 717660"/>
              <a:gd name="connsiteX8" fmla="*/ 687428 w 844822"/>
              <a:gd name="connsiteY8" fmla="*/ 562525 h 717660"/>
              <a:gd name="connsiteX9" fmla="*/ 717483 w 844822"/>
              <a:gd name="connsiteY9" fmla="*/ 542899 h 717660"/>
              <a:gd name="connsiteX10" fmla="*/ 291596 w 844822"/>
              <a:gd name="connsiteY10" fmla="*/ 251558 h 717660"/>
              <a:gd name="connsiteX11" fmla="*/ 153352 w 844822"/>
              <a:gd name="connsiteY11" fmla="*/ 466855 h 717660"/>
              <a:gd name="connsiteX12" fmla="*/ 291596 w 844822"/>
              <a:gd name="connsiteY12" fmla="*/ 466855 h 717660"/>
              <a:gd name="connsiteX13" fmla="*/ 291596 w 844822"/>
              <a:gd name="connsiteY13" fmla="*/ 0 h 717660"/>
              <a:gd name="connsiteX14" fmla="*/ 444192 w 844822"/>
              <a:gd name="connsiteY14" fmla="*/ 0 h 717660"/>
              <a:gd name="connsiteX15" fmla="*/ 444192 w 844822"/>
              <a:gd name="connsiteY15" fmla="*/ 466856 h 717660"/>
              <a:gd name="connsiteX16" fmla="*/ 524269 w 844822"/>
              <a:gd name="connsiteY16" fmla="*/ 466855 h 717660"/>
              <a:gd name="connsiteX17" fmla="*/ 469123 w 844822"/>
              <a:gd name="connsiteY17" fmla="*/ 602080 h 717660"/>
              <a:gd name="connsiteX18" fmla="*/ 444192 w 844822"/>
              <a:gd name="connsiteY18" fmla="*/ 602080 h 717660"/>
              <a:gd name="connsiteX19" fmla="*/ 444192 w 844822"/>
              <a:gd name="connsiteY19" fmla="*/ 705574 h 717660"/>
              <a:gd name="connsiteX20" fmla="*/ 291596 w 844822"/>
              <a:gd name="connsiteY20" fmla="*/ 705574 h 717660"/>
              <a:gd name="connsiteX21" fmla="*/ 291596 w 844822"/>
              <a:gd name="connsiteY21" fmla="*/ 602080 h 717660"/>
              <a:gd name="connsiteX22" fmla="*/ 0 w 844822"/>
              <a:gd name="connsiteY22" fmla="*/ 602080 h 717660"/>
              <a:gd name="connsiteX23" fmla="*/ 0 w 844822"/>
              <a:gd name="connsiteY23" fmla="*/ 478944 h 717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44822" h="717660">
                <a:moveTo>
                  <a:pt x="717483" y="542899"/>
                </a:moveTo>
                <a:cubicBezTo>
                  <a:pt x="728544" y="538538"/>
                  <a:pt x="740647" y="536358"/>
                  <a:pt x="753792" y="536357"/>
                </a:cubicBezTo>
                <a:cubicBezTo>
                  <a:pt x="779084" y="536357"/>
                  <a:pt x="800579" y="545079"/>
                  <a:pt x="818277" y="562525"/>
                </a:cubicBezTo>
                <a:cubicBezTo>
                  <a:pt x="835975" y="579971"/>
                  <a:pt x="844822" y="601339"/>
                  <a:pt x="844822" y="626631"/>
                </a:cubicBezTo>
                <a:cubicBezTo>
                  <a:pt x="844822" y="651914"/>
                  <a:pt x="835975" y="673405"/>
                  <a:pt x="818276" y="691109"/>
                </a:cubicBezTo>
                <a:cubicBezTo>
                  <a:pt x="800579" y="708810"/>
                  <a:pt x="779084" y="717660"/>
                  <a:pt x="753792" y="717660"/>
                </a:cubicBezTo>
                <a:cubicBezTo>
                  <a:pt x="727501" y="717660"/>
                  <a:pt x="705381" y="708810"/>
                  <a:pt x="687428" y="691108"/>
                </a:cubicBezTo>
                <a:cubicBezTo>
                  <a:pt x="669474" y="673405"/>
                  <a:pt x="660499" y="651914"/>
                  <a:pt x="660499" y="626631"/>
                </a:cubicBezTo>
                <a:cubicBezTo>
                  <a:pt x="660499" y="601339"/>
                  <a:pt x="669474" y="579971"/>
                  <a:pt x="687428" y="562525"/>
                </a:cubicBezTo>
                <a:cubicBezTo>
                  <a:pt x="696405" y="553802"/>
                  <a:pt x="706423" y="547260"/>
                  <a:pt x="717483" y="542899"/>
                </a:cubicBezTo>
                <a:close/>
                <a:moveTo>
                  <a:pt x="291596" y="251558"/>
                </a:moveTo>
                <a:lnTo>
                  <a:pt x="153352" y="466855"/>
                </a:lnTo>
                <a:lnTo>
                  <a:pt x="291596" y="466855"/>
                </a:lnTo>
                <a:close/>
                <a:moveTo>
                  <a:pt x="291596" y="0"/>
                </a:moveTo>
                <a:lnTo>
                  <a:pt x="444192" y="0"/>
                </a:lnTo>
                <a:lnTo>
                  <a:pt x="444192" y="466856"/>
                </a:lnTo>
                <a:lnTo>
                  <a:pt x="524269" y="466855"/>
                </a:lnTo>
                <a:lnTo>
                  <a:pt x="469123" y="602080"/>
                </a:lnTo>
                <a:lnTo>
                  <a:pt x="444192" y="602080"/>
                </a:lnTo>
                <a:lnTo>
                  <a:pt x="444192" y="705574"/>
                </a:lnTo>
                <a:lnTo>
                  <a:pt x="291596" y="705574"/>
                </a:lnTo>
                <a:lnTo>
                  <a:pt x="291596" y="602080"/>
                </a:lnTo>
                <a:lnTo>
                  <a:pt x="0" y="602080"/>
                </a:lnTo>
                <a:lnTo>
                  <a:pt x="0" y="478944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ko-KR" altLang="en-US" sz="5400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1114621" y="213820"/>
            <a:ext cx="1607080" cy="1447031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59" name="Freeform: Shape 58"/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61" name="Freeform: Shape 60"/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/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64" name="Group 63"/>
          <p:cNvGrpSpPr/>
          <p:nvPr userDrawn="1"/>
        </p:nvGrpSpPr>
        <p:grpSpPr>
          <a:xfrm rot="15300000">
            <a:off x="1967240" y="4555753"/>
            <a:ext cx="912206" cy="821359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65" name="Freeform: Shape 64"/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67" name="Freeform: Shape 66"/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/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69" name="Freeform: Shape 68"/>
          <p:cNvSpPr/>
          <p:nvPr userDrawn="1"/>
        </p:nvSpPr>
        <p:spPr>
          <a:xfrm>
            <a:off x="2978093" y="369489"/>
            <a:ext cx="623915" cy="635123"/>
          </a:xfrm>
          <a:custGeom>
            <a:avLst/>
            <a:gdLst>
              <a:gd name="connsiteX0" fmla="*/ 879664 w 1723364"/>
              <a:gd name="connsiteY0" fmla="*/ 267 h 1754322"/>
              <a:gd name="connsiteX1" fmla="*/ 964801 w 1723364"/>
              <a:gd name="connsiteY1" fmla="*/ 5943 h 1754322"/>
              <a:gd name="connsiteX2" fmla="*/ 979248 w 1723364"/>
              <a:gd name="connsiteY2" fmla="*/ 18843 h 1754322"/>
              <a:gd name="connsiteX3" fmla="*/ 977700 w 1723364"/>
              <a:gd name="connsiteY3" fmla="*/ 158673 h 1754322"/>
              <a:gd name="connsiteX4" fmla="*/ 968928 w 1723364"/>
              <a:gd name="connsiteY4" fmla="*/ 213366 h 1754322"/>
              <a:gd name="connsiteX5" fmla="*/ 979764 w 1723364"/>
              <a:gd name="connsiteY5" fmla="*/ 229877 h 1754322"/>
              <a:gd name="connsiteX6" fmla="*/ 1149520 w 1723364"/>
              <a:gd name="connsiteY6" fmla="*/ 285087 h 1754322"/>
              <a:gd name="connsiteX7" fmla="*/ 1166548 w 1723364"/>
              <a:gd name="connsiteY7" fmla="*/ 278379 h 1754322"/>
              <a:gd name="connsiteX8" fmla="*/ 1210406 w 1723364"/>
              <a:gd name="connsiteY8" fmla="*/ 190663 h 1754322"/>
              <a:gd name="connsiteX9" fmla="*/ 1263035 w 1723364"/>
              <a:gd name="connsiteY9" fmla="*/ 123070 h 1754322"/>
              <a:gd name="connsiteX10" fmla="*/ 1304314 w 1723364"/>
              <a:gd name="connsiteY10" fmla="*/ 119458 h 1754322"/>
              <a:gd name="connsiteX11" fmla="*/ 1458075 w 1723364"/>
              <a:gd name="connsiteY11" fmla="*/ 231941 h 1754322"/>
              <a:gd name="connsiteX12" fmla="*/ 1462203 w 1723364"/>
              <a:gd name="connsiteY12" fmla="*/ 251549 h 1754322"/>
              <a:gd name="connsiteX13" fmla="*/ 1461171 w 1723364"/>
              <a:gd name="connsiteY13" fmla="*/ 254128 h 1754322"/>
              <a:gd name="connsiteX14" fmla="*/ 1396158 w 1723364"/>
              <a:gd name="connsiteY14" fmla="*/ 347004 h 1754322"/>
              <a:gd name="connsiteX15" fmla="*/ 1337336 w 1723364"/>
              <a:gd name="connsiteY15" fmla="*/ 404794 h 1754322"/>
              <a:gd name="connsiteX16" fmla="*/ 1336304 w 1723364"/>
              <a:gd name="connsiteY16" fmla="*/ 419757 h 1754322"/>
              <a:gd name="connsiteX17" fmla="*/ 1369327 w 1723364"/>
              <a:gd name="connsiteY17" fmla="*/ 457939 h 1754322"/>
              <a:gd name="connsiteX18" fmla="*/ 1442596 w 1723364"/>
              <a:gd name="connsiteY18" fmla="*/ 565263 h 1754322"/>
              <a:gd name="connsiteX19" fmla="*/ 1462719 w 1723364"/>
              <a:gd name="connsiteY19" fmla="*/ 570938 h 1754322"/>
              <a:gd name="connsiteX20" fmla="*/ 1573138 w 1723364"/>
              <a:gd name="connsiteY20" fmla="*/ 514697 h 1754322"/>
              <a:gd name="connsiteX21" fmla="*/ 1650018 w 1723364"/>
              <a:gd name="connsiteY21" fmla="*/ 501281 h 1754322"/>
              <a:gd name="connsiteX22" fmla="*/ 1659822 w 1723364"/>
              <a:gd name="connsiteY22" fmla="*/ 509537 h 1754322"/>
              <a:gd name="connsiteX23" fmla="*/ 1724835 w 1723364"/>
              <a:gd name="connsiteY23" fmla="*/ 709220 h 1754322"/>
              <a:gd name="connsiteX24" fmla="*/ 1717611 w 1723364"/>
              <a:gd name="connsiteY24" fmla="*/ 723668 h 1754322"/>
              <a:gd name="connsiteX25" fmla="*/ 1671173 w 1723364"/>
              <a:gd name="connsiteY25" fmla="*/ 748950 h 1754322"/>
              <a:gd name="connsiteX26" fmla="*/ 1618544 w 1723364"/>
              <a:gd name="connsiteY26" fmla="*/ 760302 h 1754322"/>
              <a:gd name="connsiteX27" fmla="*/ 1529280 w 1723364"/>
              <a:gd name="connsiteY27" fmla="*/ 774234 h 1754322"/>
              <a:gd name="connsiteX28" fmla="*/ 1515349 w 1723364"/>
              <a:gd name="connsiteY28" fmla="*/ 791777 h 1754322"/>
              <a:gd name="connsiteX29" fmla="*/ 1521024 w 1723364"/>
              <a:gd name="connsiteY29" fmla="*/ 857306 h 1754322"/>
              <a:gd name="connsiteX30" fmla="*/ 1516380 w 1723364"/>
              <a:gd name="connsiteY30" fmla="*/ 953794 h 1754322"/>
              <a:gd name="connsiteX31" fmla="*/ 1538567 w 1723364"/>
              <a:gd name="connsiteY31" fmla="*/ 983720 h 1754322"/>
              <a:gd name="connsiteX32" fmla="*/ 1653114 w 1723364"/>
              <a:gd name="connsiteY32" fmla="*/ 1001779 h 1754322"/>
              <a:gd name="connsiteX33" fmla="*/ 1700584 w 1723364"/>
              <a:gd name="connsiteY33" fmla="*/ 1024483 h 1754322"/>
              <a:gd name="connsiteX34" fmla="*/ 1719675 w 1723364"/>
              <a:gd name="connsiteY34" fmla="*/ 1067825 h 1754322"/>
              <a:gd name="connsiteX35" fmla="*/ 1661370 w 1723364"/>
              <a:gd name="connsiteY35" fmla="*/ 1243773 h 1754322"/>
              <a:gd name="connsiteX36" fmla="*/ 1641763 w 1723364"/>
              <a:gd name="connsiteY36" fmla="*/ 1255124 h 1754322"/>
              <a:gd name="connsiteX37" fmla="*/ 1541663 w 1723364"/>
              <a:gd name="connsiteY37" fmla="*/ 1226230 h 1754322"/>
              <a:gd name="connsiteX38" fmla="*/ 1461687 w 1723364"/>
              <a:gd name="connsiteY38" fmla="*/ 1184436 h 1754322"/>
              <a:gd name="connsiteX39" fmla="*/ 1444143 w 1723364"/>
              <a:gd name="connsiteY39" fmla="*/ 1189079 h 1754322"/>
              <a:gd name="connsiteX40" fmla="*/ 1339400 w 1723364"/>
              <a:gd name="connsiteY40" fmla="*/ 1333553 h 1754322"/>
              <a:gd name="connsiteX41" fmla="*/ 1339916 w 1723364"/>
              <a:gd name="connsiteY41" fmla="*/ 1353160 h 1754322"/>
              <a:gd name="connsiteX42" fmla="*/ 1430212 w 1723364"/>
              <a:gd name="connsiteY42" fmla="*/ 1443456 h 1754322"/>
              <a:gd name="connsiteX43" fmla="*/ 1465814 w 1723364"/>
              <a:gd name="connsiteY43" fmla="*/ 1511565 h 1754322"/>
              <a:gd name="connsiteX44" fmla="*/ 1461171 w 1723364"/>
              <a:gd name="connsiteY44" fmla="*/ 1521369 h 1754322"/>
              <a:gd name="connsiteX45" fmla="*/ 1290382 w 1723364"/>
              <a:gd name="connsiteY45" fmla="*/ 1645203 h 1754322"/>
              <a:gd name="connsiteX46" fmla="*/ 1275419 w 1723364"/>
              <a:gd name="connsiteY46" fmla="*/ 1643655 h 1754322"/>
              <a:gd name="connsiteX47" fmla="*/ 1207310 w 1723364"/>
              <a:gd name="connsiteY47" fmla="*/ 1558003 h 1754322"/>
              <a:gd name="connsiteX48" fmla="*/ 1167064 w 1723364"/>
              <a:gd name="connsiteY48" fmla="*/ 1477511 h 1754322"/>
              <a:gd name="connsiteX49" fmla="*/ 1150036 w 1723364"/>
              <a:gd name="connsiteY49" fmla="*/ 1470803 h 1754322"/>
              <a:gd name="connsiteX50" fmla="*/ 981312 w 1723364"/>
              <a:gd name="connsiteY50" fmla="*/ 1526013 h 1754322"/>
              <a:gd name="connsiteX51" fmla="*/ 969960 w 1723364"/>
              <a:gd name="connsiteY51" fmla="*/ 1544072 h 1754322"/>
              <a:gd name="connsiteX52" fmla="*/ 989052 w 1723364"/>
              <a:gd name="connsiteY52" fmla="*/ 1663779 h 1754322"/>
              <a:gd name="connsiteX53" fmla="*/ 978216 w 1723364"/>
              <a:gd name="connsiteY53" fmla="*/ 1743755 h 1754322"/>
              <a:gd name="connsiteX54" fmla="*/ 966864 w 1723364"/>
              <a:gd name="connsiteY54" fmla="*/ 1749947 h 1754322"/>
              <a:gd name="connsiteX55" fmla="*/ 758410 w 1723364"/>
              <a:gd name="connsiteY55" fmla="*/ 1749947 h 1754322"/>
              <a:gd name="connsiteX56" fmla="*/ 745510 w 1723364"/>
              <a:gd name="connsiteY56" fmla="*/ 1737047 h 1754322"/>
              <a:gd name="connsiteX57" fmla="*/ 747058 w 1723364"/>
              <a:gd name="connsiteY57" fmla="*/ 1598249 h 1754322"/>
              <a:gd name="connsiteX58" fmla="*/ 756346 w 1723364"/>
              <a:gd name="connsiteY58" fmla="*/ 1543556 h 1754322"/>
              <a:gd name="connsiteX59" fmla="*/ 744478 w 1723364"/>
              <a:gd name="connsiteY59" fmla="*/ 1525496 h 1754322"/>
              <a:gd name="connsiteX60" fmla="*/ 575754 w 1723364"/>
              <a:gd name="connsiteY60" fmla="*/ 1470287 h 1754322"/>
              <a:gd name="connsiteX61" fmla="*/ 559758 w 1723364"/>
              <a:gd name="connsiteY61" fmla="*/ 1475963 h 1754322"/>
              <a:gd name="connsiteX62" fmla="*/ 504549 w 1723364"/>
              <a:gd name="connsiteY62" fmla="*/ 1585350 h 1754322"/>
              <a:gd name="connsiteX63" fmla="*/ 447275 w 1723364"/>
              <a:gd name="connsiteY63" fmla="*/ 1645719 h 1754322"/>
              <a:gd name="connsiteX64" fmla="*/ 434376 w 1723364"/>
              <a:gd name="connsiteY64" fmla="*/ 1643655 h 1754322"/>
              <a:gd name="connsiteX65" fmla="*/ 290418 w 1723364"/>
              <a:gd name="connsiteY65" fmla="*/ 1542008 h 1754322"/>
              <a:gd name="connsiteX66" fmla="*/ 265651 w 1723364"/>
              <a:gd name="connsiteY66" fmla="*/ 1521369 h 1754322"/>
              <a:gd name="connsiteX67" fmla="*/ 262039 w 1723364"/>
              <a:gd name="connsiteY67" fmla="*/ 1505889 h 1754322"/>
              <a:gd name="connsiteX68" fmla="*/ 321893 w 1723364"/>
              <a:gd name="connsiteY68" fmla="*/ 1415593 h 1754322"/>
              <a:gd name="connsiteX69" fmla="*/ 386906 w 1723364"/>
              <a:gd name="connsiteY69" fmla="*/ 1351096 h 1754322"/>
              <a:gd name="connsiteX70" fmla="*/ 387938 w 1723364"/>
              <a:gd name="connsiteY70" fmla="*/ 1334069 h 1754322"/>
              <a:gd name="connsiteX71" fmla="*/ 354915 w 1723364"/>
              <a:gd name="connsiteY71" fmla="*/ 1295887 h 1754322"/>
              <a:gd name="connsiteX72" fmla="*/ 282678 w 1723364"/>
              <a:gd name="connsiteY72" fmla="*/ 1189595 h 1754322"/>
              <a:gd name="connsiteX73" fmla="*/ 262555 w 1723364"/>
              <a:gd name="connsiteY73" fmla="*/ 1183920 h 1754322"/>
              <a:gd name="connsiteX74" fmla="*/ 152136 w 1723364"/>
              <a:gd name="connsiteY74" fmla="*/ 1240161 h 1754322"/>
              <a:gd name="connsiteX75" fmla="*/ 75256 w 1723364"/>
              <a:gd name="connsiteY75" fmla="*/ 1253577 h 1754322"/>
              <a:gd name="connsiteX76" fmla="*/ 65452 w 1723364"/>
              <a:gd name="connsiteY76" fmla="*/ 1245321 h 1754322"/>
              <a:gd name="connsiteX77" fmla="*/ 439 w 1723364"/>
              <a:gd name="connsiteY77" fmla="*/ 1045637 h 1754322"/>
              <a:gd name="connsiteX78" fmla="*/ 7663 w 1723364"/>
              <a:gd name="connsiteY78" fmla="*/ 1031190 h 1754322"/>
              <a:gd name="connsiteX79" fmla="*/ 54101 w 1723364"/>
              <a:gd name="connsiteY79" fmla="*/ 1005907 h 1754322"/>
              <a:gd name="connsiteX80" fmla="*/ 106730 w 1723364"/>
              <a:gd name="connsiteY80" fmla="*/ 994556 h 1754322"/>
              <a:gd name="connsiteX81" fmla="*/ 197026 w 1723364"/>
              <a:gd name="connsiteY81" fmla="*/ 980109 h 1754322"/>
              <a:gd name="connsiteX82" fmla="*/ 209410 w 1723364"/>
              <a:gd name="connsiteY82" fmla="*/ 964113 h 1754322"/>
              <a:gd name="connsiteX83" fmla="*/ 203734 w 1723364"/>
              <a:gd name="connsiteY83" fmla="*/ 897552 h 1754322"/>
              <a:gd name="connsiteX84" fmla="*/ 208378 w 1723364"/>
              <a:gd name="connsiteY84" fmla="*/ 801064 h 1754322"/>
              <a:gd name="connsiteX85" fmla="*/ 185159 w 1723364"/>
              <a:gd name="connsiteY85" fmla="*/ 770622 h 1754322"/>
              <a:gd name="connsiteX86" fmla="*/ 73192 w 1723364"/>
              <a:gd name="connsiteY86" fmla="*/ 753079 h 1754322"/>
              <a:gd name="connsiteX87" fmla="*/ 24690 w 1723364"/>
              <a:gd name="connsiteY87" fmla="*/ 730375 h 1754322"/>
              <a:gd name="connsiteX88" fmla="*/ 5599 w 1723364"/>
              <a:gd name="connsiteY88" fmla="*/ 687033 h 1754322"/>
              <a:gd name="connsiteX89" fmla="*/ 63904 w 1723364"/>
              <a:gd name="connsiteY89" fmla="*/ 511085 h 1754322"/>
              <a:gd name="connsiteX90" fmla="*/ 83511 w 1723364"/>
              <a:gd name="connsiteY90" fmla="*/ 499733 h 1754322"/>
              <a:gd name="connsiteX91" fmla="*/ 183611 w 1723364"/>
              <a:gd name="connsiteY91" fmla="*/ 528628 h 1754322"/>
              <a:gd name="connsiteX92" fmla="*/ 262555 w 1723364"/>
              <a:gd name="connsiteY92" fmla="*/ 569390 h 1754322"/>
              <a:gd name="connsiteX93" fmla="*/ 282163 w 1723364"/>
              <a:gd name="connsiteY93" fmla="*/ 564231 h 1754322"/>
              <a:gd name="connsiteX94" fmla="*/ 386906 w 1723364"/>
              <a:gd name="connsiteY94" fmla="*/ 419757 h 1754322"/>
              <a:gd name="connsiteX95" fmla="*/ 386390 w 1723364"/>
              <a:gd name="connsiteY95" fmla="*/ 402214 h 1754322"/>
              <a:gd name="connsiteX96" fmla="*/ 296094 w 1723364"/>
              <a:gd name="connsiteY96" fmla="*/ 311918 h 1754322"/>
              <a:gd name="connsiteX97" fmla="*/ 259975 w 1723364"/>
              <a:gd name="connsiteY97" fmla="*/ 242777 h 1754322"/>
              <a:gd name="connsiteX98" fmla="*/ 264619 w 1723364"/>
              <a:gd name="connsiteY98" fmla="*/ 232973 h 1754322"/>
              <a:gd name="connsiteX99" fmla="*/ 435408 w 1723364"/>
              <a:gd name="connsiteY99" fmla="*/ 109139 h 1754322"/>
              <a:gd name="connsiteX100" fmla="*/ 450371 w 1723364"/>
              <a:gd name="connsiteY100" fmla="*/ 110687 h 1754322"/>
              <a:gd name="connsiteX101" fmla="*/ 518480 w 1723364"/>
              <a:gd name="connsiteY101" fmla="*/ 196339 h 1754322"/>
              <a:gd name="connsiteX102" fmla="*/ 559758 w 1723364"/>
              <a:gd name="connsiteY102" fmla="*/ 277863 h 1754322"/>
              <a:gd name="connsiteX103" fmla="*/ 574722 w 1723364"/>
              <a:gd name="connsiteY103" fmla="*/ 283539 h 1754322"/>
              <a:gd name="connsiteX104" fmla="*/ 746026 w 1723364"/>
              <a:gd name="connsiteY104" fmla="*/ 227813 h 1754322"/>
              <a:gd name="connsiteX105" fmla="*/ 756346 w 1723364"/>
              <a:gd name="connsiteY105" fmla="*/ 211302 h 1754322"/>
              <a:gd name="connsiteX106" fmla="*/ 737254 w 1723364"/>
              <a:gd name="connsiteY106" fmla="*/ 91596 h 1754322"/>
              <a:gd name="connsiteX107" fmla="*/ 748090 w 1723364"/>
              <a:gd name="connsiteY107" fmla="*/ 10587 h 1754322"/>
              <a:gd name="connsiteX108" fmla="*/ 758410 w 1723364"/>
              <a:gd name="connsiteY108" fmla="*/ 4395 h 1754322"/>
              <a:gd name="connsiteX109" fmla="*/ 879664 w 1723364"/>
              <a:gd name="connsiteY109" fmla="*/ 267 h 1754322"/>
              <a:gd name="connsiteX110" fmla="*/ 861605 w 1723364"/>
              <a:gd name="connsiteY110" fmla="*/ 1409918 h 1754322"/>
              <a:gd name="connsiteX111" fmla="*/ 1392546 w 1723364"/>
              <a:gd name="connsiteY111" fmla="*/ 879493 h 1754322"/>
              <a:gd name="connsiteX112" fmla="*/ 862637 w 1723364"/>
              <a:gd name="connsiteY112" fmla="*/ 348552 h 1754322"/>
              <a:gd name="connsiteX113" fmla="*/ 331180 w 1723364"/>
              <a:gd name="connsiteY113" fmla="*/ 879493 h 1754322"/>
              <a:gd name="connsiteX114" fmla="*/ 861605 w 1723364"/>
              <a:gd name="connsiteY114" fmla="*/ 1409918 h 1754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723364" h="1754322">
                <a:moveTo>
                  <a:pt x="879664" y="267"/>
                </a:moveTo>
                <a:cubicBezTo>
                  <a:pt x="907527" y="2332"/>
                  <a:pt x="935906" y="4395"/>
                  <a:pt x="964801" y="5943"/>
                </a:cubicBezTo>
                <a:cubicBezTo>
                  <a:pt x="974088" y="6459"/>
                  <a:pt x="976668" y="11103"/>
                  <a:pt x="979248" y="18843"/>
                </a:cubicBezTo>
                <a:cubicBezTo>
                  <a:pt x="994727" y="65797"/>
                  <a:pt x="985956" y="112235"/>
                  <a:pt x="977700" y="158673"/>
                </a:cubicBezTo>
                <a:cubicBezTo>
                  <a:pt x="974604" y="176732"/>
                  <a:pt x="972024" y="195307"/>
                  <a:pt x="968928" y="213366"/>
                </a:cubicBezTo>
                <a:cubicBezTo>
                  <a:pt x="967380" y="222654"/>
                  <a:pt x="969960" y="227813"/>
                  <a:pt x="979764" y="229877"/>
                </a:cubicBezTo>
                <a:cubicBezTo>
                  <a:pt x="1038585" y="240713"/>
                  <a:pt x="1095343" y="259804"/>
                  <a:pt x="1149520" y="285087"/>
                </a:cubicBezTo>
                <a:cubicBezTo>
                  <a:pt x="1158808" y="289215"/>
                  <a:pt x="1162420" y="286119"/>
                  <a:pt x="1166548" y="278379"/>
                </a:cubicBezTo>
                <a:cubicBezTo>
                  <a:pt x="1180995" y="248969"/>
                  <a:pt x="1197506" y="220590"/>
                  <a:pt x="1210406" y="190663"/>
                </a:cubicBezTo>
                <a:cubicBezTo>
                  <a:pt x="1222273" y="163316"/>
                  <a:pt x="1240848" y="142161"/>
                  <a:pt x="1263035" y="123070"/>
                </a:cubicBezTo>
                <a:cubicBezTo>
                  <a:pt x="1282643" y="106043"/>
                  <a:pt x="1282127" y="106559"/>
                  <a:pt x="1304314" y="119458"/>
                </a:cubicBezTo>
                <a:cubicBezTo>
                  <a:pt x="1359523" y="151449"/>
                  <a:pt x="1409573" y="190663"/>
                  <a:pt x="1458075" y="231941"/>
                </a:cubicBezTo>
                <a:cubicBezTo>
                  <a:pt x="1465299" y="238133"/>
                  <a:pt x="1467362" y="243809"/>
                  <a:pt x="1462203" y="251549"/>
                </a:cubicBezTo>
                <a:cubicBezTo>
                  <a:pt x="1461687" y="252064"/>
                  <a:pt x="1461171" y="253096"/>
                  <a:pt x="1461171" y="254128"/>
                </a:cubicBezTo>
                <a:cubicBezTo>
                  <a:pt x="1448271" y="291279"/>
                  <a:pt x="1425052" y="320689"/>
                  <a:pt x="1396158" y="347004"/>
                </a:cubicBezTo>
                <a:cubicBezTo>
                  <a:pt x="1375518" y="365064"/>
                  <a:pt x="1356943" y="385703"/>
                  <a:pt x="1337336" y="404794"/>
                </a:cubicBezTo>
                <a:cubicBezTo>
                  <a:pt x="1332177" y="409954"/>
                  <a:pt x="1330628" y="413565"/>
                  <a:pt x="1336304" y="419757"/>
                </a:cubicBezTo>
                <a:cubicBezTo>
                  <a:pt x="1347656" y="432141"/>
                  <a:pt x="1357459" y="445556"/>
                  <a:pt x="1369327" y="457939"/>
                </a:cubicBezTo>
                <a:cubicBezTo>
                  <a:pt x="1399769" y="489930"/>
                  <a:pt x="1419893" y="528628"/>
                  <a:pt x="1442596" y="565263"/>
                </a:cubicBezTo>
                <a:cubicBezTo>
                  <a:pt x="1448271" y="574550"/>
                  <a:pt x="1452915" y="576098"/>
                  <a:pt x="1462719" y="570938"/>
                </a:cubicBezTo>
                <a:cubicBezTo>
                  <a:pt x="1499353" y="551847"/>
                  <a:pt x="1535988" y="533272"/>
                  <a:pt x="1573138" y="514697"/>
                </a:cubicBezTo>
                <a:cubicBezTo>
                  <a:pt x="1597389" y="502830"/>
                  <a:pt x="1624220" y="504893"/>
                  <a:pt x="1650018" y="501281"/>
                </a:cubicBezTo>
                <a:cubicBezTo>
                  <a:pt x="1655694" y="500250"/>
                  <a:pt x="1658274" y="505409"/>
                  <a:pt x="1659822" y="509537"/>
                </a:cubicBezTo>
                <a:cubicBezTo>
                  <a:pt x="1687685" y="574034"/>
                  <a:pt x="1709872" y="640595"/>
                  <a:pt x="1724835" y="709220"/>
                </a:cubicBezTo>
                <a:cubicBezTo>
                  <a:pt x="1726383" y="716444"/>
                  <a:pt x="1723803" y="720572"/>
                  <a:pt x="1717611" y="723668"/>
                </a:cubicBezTo>
                <a:cubicBezTo>
                  <a:pt x="1702132" y="731923"/>
                  <a:pt x="1686653" y="740695"/>
                  <a:pt x="1671173" y="748950"/>
                </a:cubicBezTo>
                <a:cubicBezTo>
                  <a:pt x="1654662" y="757722"/>
                  <a:pt x="1636087" y="757206"/>
                  <a:pt x="1618544" y="760302"/>
                </a:cubicBezTo>
                <a:cubicBezTo>
                  <a:pt x="1589133" y="765462"/>
                  <a:pt x="1559207" y="770106"/>
                  <a:pt x="1529280" y="774234"/>
                </a:cubicBezTo>
                <a:cubicBezTo>
                  <a:pt x="1517412" y="775781"/>
                  <a:pt x="1514316" y="780941"/>
                  <a:pt x="1515349" y="791777"/>
                </a:cubicBezTo>
                <a:cubicBezTo>
                  <a:pt x="1517412" y="813448"/>
                  <a:pt x="1518444" y="835635"/>
                  <a:pt x="1521024" y="857306"/>
                </a:cubicBezTo>
                <a:cubicBezTo>
                  <a:pt x="1524636" y="889813"/>
                  <a:pt x="1518960" y="921803"/>
                  <a:pt x="1516380" y="953794"/>
                </a:cubicBezTo>
                <a:cubicBezTo>
                  <a:pt x="1514316" y="980109"/>
                  <a:pt x="1513284" y="980109"/>
                  <a:pt x="1538567" y="983720"/>
                </a:cubicBezTo>
                <a:cubicBezTo>
                  <a:pt x="1576750" y="989912"/>
                  <a:pt x="1614932" y="995588"/>
                  <a:pt x="1653114" y="1001779"/>
                </a:cubicBezTo>
                <a:cubicBezTo>
                  <a:pt x="1671173" y="1004875"/>
                  <a:pt x="1685105" y="1016227"/>
                  <a:pt x="1700584" y="1024483"/>
                </a:cubicBezTo>
                <a:cubicBezTo>
                  <a:pt x="1726899" y="1038414"/>
                  <a:pt x="1725867" y="1038930"/>
                  <a:pt x="1719675" y="1067825"/>
                </a:cubicBezTo>
                <a:cubicBezTo>
                  <a:pt x="1706260" y="1128710"/>
                  <a:pt x="1685105" y="1186500"/>
                  <a:pt x="1661370" y="1243773"/>
                </a:cubicBezTo>
                <a:cubicBezTo>
                  <a:pt x="1657242" y="1253577"/>
                  <a:pt x="1651566" y="1256157"/>
                  <a:pt x="1641763" y="1255124"/>
                </a:cubicBezTo>
                <a:cubicBezTo>
                  <a:pt x="1606160" y="1252028"/>
                  <a:pt x="1572622" y="1244805"/>
                  <a:pt x="1541663" y="1226230"/>
                </a:cubicBezTo>
                <a:cubicBezTo>
                  <a:pt x="1515864" y="1210750"/>
                  <a:pt x="1488001" y="1198883"/>
                  <a:pt x="1461687" y="1184436"/>
                </a:cubicBezTo>
                <a:cubicBezTo>
                  <a:pt x="1453947" y="1180308"/>
                  <a:pt x="1448787" y="1180308"/>
                  <a:pt x="1444143" y="1189079"/>
                </a:cubicBezTo>
                <a:cubicBezTo>
                  <a:pt x="1415249" y="1241709"/>
                  <a:pt x="1380162" y="1290211"/>
                  <a:pt x="1339400" y="1333553"/>
                </a:cubicBezTo>
                <a:cubicBezTo>
                  <a:pt x="1332177" y="1341293"/>
                  <a:pt x="1332177" y="1345936"/>
                  <a:pt x="1339916" y="1353160"/>
                </a:cubicBezTo>
                <a:cubicBezTo>
                  <a:pt x="1370359" y="1382571"/>
                  <a:pt x="1400801" y="1412498"/>
                  <a:pt x="1430212" y="1443456"/>
                </a:cubicBezTo>
                <a:cubicBezTo>
                  <a:pt x="1448271" y="1462547"/>
                  <a:pt x="1453947" y="1488862"/>
                  <a:pt x="1465814" y="1511565"/>
                </a:cubicBezTo>
                <a:cubicBezTo>
                  <a:pt x="1467879" y="1515693"/>
                  <a:pt x="1464267" y="1518789"/>
                  <a:pt x="1461171" y="1521369"/>
                </a:cubicBezTo>
                <a:cubicBezTo>
                  <a:pt x="1408025" y="1568323"/>
                  <a:pt x="1351784" y="1610117"/>
                  <a:pt x="1290382" y="1645203"/>
                </a:cubicBezTo>
                <a:cubicBezTo>
                  <a:pt x="1284707" y="1648815"/>
                  <a:pt x="1280579" y="1648299"/>
                  <a:pt x="1275419" y="1643655"/>
                </a:cubicBezTo>
                <a:cubicBezTo>
                  <a:pt x="1247040" y="1619404"/>
                  <a:pt x="1221757" y="1593606"/>
                  <a:pt x="1207310" y="1558003"/>
                </a:cubicBezTo>
                <a:cubicBezTo>
                  <a:pt x="1195958" y="1530140"/>
                  <a:pt x="1179963" y="1504341"/>
                  <a:pt x="1167064" y="1477511"/>
                </a:cubicBezTo>
                <a:cubicBezTo>
                  <a:pt x="1162936" y="1469255"/>
                  <a:pt x="1158808" y="1467191"/>
                  <a:pt x="1150036" y="1470803"/>
                </a:cubicBezTo>
                <a:cubicBezTo>
                  <a:pt x="1096375" y="1496086"/>
                  <a:pt x="1040133" y="1514661"/>
                  <a:pt x="981312" y="1526013"/>
                </a:cubicBezTo>
                <a:cubicBezTo>
                  <a:pt x="969960" y="1528076"/>
                  <a:pt x="967896" y="1534268"/>
                  <a:pt x="969960" y="1544072"/>
                </a:cubicBezTo>
                <a:cubicBezTo>
                  <a:pt x="976668" y="1583802"/>
                  <a:pt x="982860" y="1623532"/>
                  <a:pt x="989052" y="1663779"/>
                </a:cubicBezTo>
                <a:cubicBezTo>
                  <a:pt x="993179" y="1691641"/>
                  <a:pt x="982344" y="1716924"/>
                  <a:pt x="978216" y="1743755"/>
                </a:cubicBezTo>
                <a:cubicBezTo>
                  <a:pt x="977184" y="1749431"/>
                  <a:pt x="971508" y="1749431"/>
                  <a:pt x="966864" y="1749947"/>
                </a:cubicBezTo>
                <a:cubicBezTo>
                  <a:pt x="897207" y="1757170"/>
                  <a:pt x="828067" y="1756655"/>
                  <a:pt x="758410" y="1749947"/>
                </a:cubicBezTo>
                <a:cubicBezTo>
                  <a:pt x="749638" y="1748915"/>
                  <a:pt x="748090" y="1744271"/>
                  <a:pt x="745510" y="1737047"/>
                </a:cubicBezTo>
                <a:cubicBezTo>
                  <a:pt x="730031" y="1690609"/>
                  <a:pt x="738286" y="1644687"/>
                  <a:pt x="747058" y="1598249"/>
                </a:cubicBezTo>
                <a:cubicBezTo>
                  <a:pt x="750154" y="1580190"/>
                  <a:pt x="752734" y="1561615"/>
                  <a:pt x="756346" y="1543556"/>
                </a:cubicBezTo>
                <a:cubicBezTo>
                  <a:pt x="758410" y="1533236"/>
                  <a:pt x="755314" y="1527560"/>
                  <a:pt x="744478" y="1525496"/>
                </a:cubicBezTo>
                <a:cubicBezTo>
                  <a:pt x="685657" y="1514661"/>
                  <a:pt x="629931" y="1496086"/>
                  <a:pt x="575754" y="1470287"/>
                </a:cubicBezTo>
                <a:cubicBezTo>
                  <a:pt x="568014" y="1466675"/>
                  <a:pt x="563886" y="1467707"/>
                  <a:pt x="559758" y="1475963"/>
                </a:cubicBezTo>
                <a:cubicBezTo>
                  <a:pt x="541699" y="1512597"/>
                  <a:pt x="522608" y="1548715"/>
                  <a:pt x="504549" y="1585350"/>
                </a:cubicBezTo>
                <a:cubicBezTo>
                  <a:pt x="491649" y="1611149"/>
                  <a:pt x="466882" y="1626112"/>
                  <a:pt x="447275" y="1645719"/>
                </a:cubicBezTo>
                <a:cubicBezTo>
                  <a:pt x="442631" y="1650363"/>
                  <a:pt x="438504" y="1646235"/>
                  <a:pt x="434376" y="1643655"/>
                </a:cubicBezTo>
                <a:cubicBezTo>
                  <a:pt x="384326" y="1612697"/>
                  <a:pt x="334276" y="1581738"/>
                  <a:pt x="290418" y="1542008"/>
                </a:cubicBezTo>
                <a:cubicBezTo>
                  <a:pt x="282678" y="1534784"/>
                  <a:pt x="273907" y="1528076"/>
                  <a:pt x="265651" y="1521369"/>
                </a:cubicBezTo>
                <a:cubicBezTo>
                  <a:pt x="259975" y="1516725"/>
                  <a:pt x="259459" y="1512597"/>
                  <a:pt x="262039" y="1505889"/>
                </a:cubicBezTo>
                <a:cubicBezTo>
                  <a:pt x="276487" y="1472351"/>
                  <a:pt x="292998" y="1440360"/>
                  <a:pt x="321893" y="1415593"/>
                </a:cubicBezTo>
                <a:cubicBezTo>
                  <a:pt x="345112" y="1395986"/>
                  <a:pt x="365235" y="1372767"/>
                  <a:pt x="386906" y="1351096"/>
                </a:cubicBezTo>
                <a:cubicBezTo>
                  <a:pt x="393098" y="1345421"/>
                  <a:pt x="394129" y="1341293"/>
                  <a:pt x="387938" y="1334069"/>
                </a:cubicBezTo>
                <a:cubicBezTo>
                  <a:pt x="376586" y="1321685"/>
                  <a:pt x="366783" y="1308270"/>
                  <a:pt x="354915" y="1295887"/>
                </a:cubicBezTo>
                <a:cubicBezTo>
                  <a:pt x="324989" y="1264412"/>
                  <a:pt x="305382" y="1225714"/>
                  <a:pt x="282678" y="1189595"/>
                </a:cubicBezTo>
                <a:cubicBezTo>
                  <a:pt x="277003" y="1180308"/>
                  <a:pt x="272359" y="1178760"/>
                  <a:pt x="262555" y="1183920"/>
                </a:cubicBezTo>
                <a:cubicBezTo>
                  <a:pt x="225921" y="1203011"/>
                  <a:pt x="189287" y="1221586"/>
                  <a:pt x="152136" y="1240161"/>
                </a:cubicBezTo>
                <a:cubicBezTo>
                  <a:pt x="127885" y="1252545"/>
                  <a:pt x="101054" y="1249965"/>
                  <a:pt x="75256" y="1253577"/>
                </a:cubicBezTo>
                <a:cubicBezTo>
                  <a:pt x="69580" y="1254608"/>
                  <a:pt x="67000" y="1249965"/>
                  <a:pt x="65452" y="1245321"/>
                </a:cubicBezTo>
                <a:cubicBezTo>
                  <a:pt x="37589" y="1180824"/>
                  <a:pt x="15402" y="1114263"/>
                  <a:pt x="439" y="1045637"/>
                </a:cubicBezTo>
                <a:cubicBezTo>
                  <a:pt x="-1109" y="1038414"/>
                  <a:pt x="1471" y="1034286"/>
                  <a:pt x="7663" y="1031190"/>
                </a:cubicBezTo>
                <a:cubicBezTo>
                  <a:pt x="23142" y="1022935"/>
                  <a:pt x="38621" y="1014163"/>
                  <a:pt x="54101" y="1005907"/>
                </a:cubicBezTo>
                <a:cubicBezTo>
                  <a:pt x="70612" y="997136"/>
                  <a:pt x="89187" y="997652"/>
                  <a:pt x="106730" y="994556"/>
                </a:cubicBezTo>
                <a:cubicBezTo>
                  <a:pt x="136657" y="989396"/>
                  <a:pt x="167099" y="984236"/>
                  <a:pt x="197026" y="980109"/>
                </a:cubicBezTo>
                <a:cubicBezTo>
                  <a:pt x="207346" y="978560"/>
                  <a:pt x="210442" y="973917"/>
                  <a:pt x="209410" y="964113"/>
                </a:cubicBezTo>
                <a:cubicBezTo>
                  <a:pt x="207346" y="941926"/>
                  <a:pt x="206314" y="919739"/>
                  <a:pt x="203734" y="897552"/>
                </a:cubicBezTo>
                <a:cubicBezTo>
                  <a:pt x="200122" y="865045"/>
                  <a:pt x="205798" y="833055"/>
                  <a:pt x="208378" y="801064"/>
                </a:cubicBezTo>
                <a:cubicBezTo>
                  <a:pt x="210442" y="774749"/>
                  <a:pt x="211474" y="774749"/>
                  <a:pt x="185159" y="770622"/>
                </a:cubicBezTo>
                <a:cubicBezTo>
                  <a:pt x="148009" y="764430"/>
                  <a:pt x="110342" y="758754"/>
                  <a:pt x="73192" y="753079"/>
                </a:cubicBezTo>
                <a:cubicBezTo>
                  <a:pt x="54616" y="750499"/>
                  <a:pt x="40169" y="738631"/>
                  <a:pt x="24690" y="730375"/>
                </a:cubicBezTo>
                <a:cubicBezTo>
                  <a:pt x="-1625" y="715928"/>
                  <a:pt x="-593" y="715928"/>
                  <a:pt x="5599" y="687033"/>
                </a:cubicBezTo>
                <a:cubicBezTo>
                  <a:pt x="19014" y="626148"/>
                  <a:pt x="40169" y="568358"/>
                  <a:pt x="63904" y="511085"/>
                </a:cubicBezTo>
                <a:cubicBezTo>
                  <a:pt x="68032" y="501281"/>
                  <a:pt x="73192" y="498701"/>
                  <a:pt x="83511" y="499733"/>
                </a:cubicBezTo>
                <a:cubicBezTo>
                  <a:pt x="119114" y="502830"/>
                  <a:pt x="152652" y="510053"/>
                  <a:pt x="183611" y="528628"/>
                </a:cubicBezTo>
                <a:cubicBezTo>
                  <a:pt x="208894" y="543592"/>
                  <a:pt x="236241" y="555459"/>
                  <a:pt x="262555" y="569390"/>
                </a:cubicBezTo>
                <a:cubicBezTo>
                  <a:pt x="271327" y="574034"/>
                  <a:pt x="277003" y="574034"/>
                  <a:pt x="282163" y="564231"/>
                </a:cubicBezTo>
                <a:cubicBezTo>
                  <a:pt x="311057" y="511601"/>
                  <a:pt x="346144" y="463615"/>
                  <a:pt x="386906" y="419757"/>
                </a:cubicBezTo>
                <a:cubicBezTo>
                  <a:pt x="393614" y="412534"/>
                  <a:pt x="393098" y="408922"/>
                  <a:pt x="386390" y="402214"/>
                </a:cubicBezTo>
                <a:cubicBezTo>
                  <a:pt x="355947" y="372287"/>
                  <a:pt x="325505" y="342360"/>
                  <a:pt x="296094" y="311918"/>
                </a:cubicBezTo>
                <a:cubicBezTo>
                  <a:pt x="277519" y="292827"/>
                  <a:pt x="271843" y="265996"/>
                  <a:pt x="259975" y="242777"/>
                </a:cubicBezTo>
                <a:cubicBezTo>
                  <a:pt x="257912" y="238649"/>
                  <a:pt x="261524" y="235553"/>
                  <a:pt x="264619" y="232973"/>
                </a:cubicBezTo>
                <a:cubicBezTo>
                  <a:pt x="317765" y="186019"/>
                  <a:pt x="374007" y="144225"/>
                  <a:pt x="435408" y="109139"/>
                </a:cubicBezTo>
                <a:cubicBezTo>
                  <a:pt x="441084" y="105527"/>
                  <a:pt x="445211" y="106043"/>
                  <a:pt x="450371" y="110687"/>
                </a:cubicBezTo>
                <a:cubicBezTo>
                  <a:pt x="478750" y="134937"/>
                  <a:pt x="504033" y="160736"/>
                  <a:pt x="518480" y="196339"/>
                </a:cubicBezTo>
                <a:cubicBezTo>
                  <a:pt x="530348" y="224202"/>
                  <a:pt x="545827" y="250516"/>
                  <a:pt x="559758" y="277863"/>
                </a:cubicBezTo>
                <a:cubicBezTo>
                  <a:pt x="563370" y="285087"/>
                  <a:pt x="566982" y="287151"/>
                  <a:pt x="574722" y="283539"/>
                </a:cubicBezTo>
                <a:cubicBezTo>
                  <a:pt x="629415" y="257740"/>
                  <a:pt x="686173" y="238649"/>
                  <a:pt x="746026" y="227813"/>
                </a:cubicBezTo>
                <a:cubicBezTo>
                  <a:pt x="756346" y="225750"/>
                  <a:pt x="757893" y="220074"/>
                  <a:pt x="756346" y="211302"/>
                </a:cubicBezTo>
                <a:cubicBezTo>
                  <a:pt x="749638" y="171572"/>
                  <a:pt x="743446" y="131326"/>
                  <a:pt x="737254" y="91596"/>
                </a:cubicBezTo>
                <a:cubicBezTo>
                  <a:pt x="732611" y="63217"/>
                  <a:pt x="743446" y="37418"/>
                  <a:pt x="748090" y="10587"/>
                </a:cubicBezTo>
                <a:cubicBezTo>
                  <a:pt x="749122" y="5427"/>
                  <a:pt x="753766" y="4395"/>
                  <a:pt x="758410" y="4395"/>
                </a:cubicBezTo>
                <a:cubicBezTo>
                  <a:pt x="797624" y="4395"/>
                  <a:pt x="837870" y="-1280"/>
                  <a:pt x="879664" y="267"/>
                </a:cubicBezTo>
                <a:close/>
                <a:moveTo>
                  <a:pt x="861605" y="1409918"/>
                </a:moveTo>
                <a:cubicBezTo>
                  <a:pt x="1155712" y="1407338"/>
                  <a:pt x="1392030" y="1176180"/>
                  <a:pt x="1392546" y="879493"/>
                </a:cubicBezTo>
                <a:cubicBezTo>
                  <a:pt x="1393062" y="585902"/>
                  <a:pt x="1160356" y="349068"/>
                  <a:pt x="862637" y="348552"/>
                </a:cubicBezTo>
                <a:cubicBezTo>
                  <a:pt x="568014" y="348036"/>
                  <a:pt x="331180" y="581774"/>
                  <a:pt x="331180" y="879493"/>
                </a:cubicBezTo>
                <a:cubicBezTo>
                  <a:pt x="331180" y="1173600"/>
                  <a:pt x="565950" y="1406822"/>
                  <a:pt x="861605" y="140991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282512" y="0"/>
            <a:ext cx="9626981" cy="6858000"/>
          </a:xfrm>
          <a:custGeom>
            <a:avLst/>
            <a:gdLst>
              <a:gd name="connsiteX0" fmla="*/ 0 w 9626981"/>
              <a:gd name="connsiteY0" fmla="*/ 0 h 6858000"/>
              <a:gd name="connsiteX1" fmla="*/ 4760133 w 9626981"/>
              <a:gd name="connsiteY1" fmla="*/ 0 h 6858000"/>
              <a:gd name="connsiteX2" fmla="*/ 9626981 w 9626981"/>
              <a:gd name="connsiteY2" fmla="*/ 6858000 h 6858000"/>
              <a:gd name="connsiteX3" fmla="*/ 4866848 w 96269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26981" h="6858000">
                <a:moveTo>
                  <a:pt x="0" y="0"/>
                </a:moveTo>
                <a:lnTo>
                  <a:pt x="4760133" y="0"/>
                </a:lnTo>
                <a:lnTo>
                  <a:pt x="9626981" y="6858000"/>
                </a:lnTo>
                <a:lnTo>
                  <a:pt x="4866848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 hasCustomPrompt="1"/>
          </p:nvPr>
        </p:nvSpPr>
        <p:spPr>
          <a:xfrm>
            <a:off x="3317860" y="659465"/>
            <a:ext cx="5556281" cy="5539071"/>
          </a:xfrm>
          <a:custGeom>
            <a:avLst/>
            <a:gdLst>
              <a:gd name="connsiteX0" fmla="*/ 2778140 w 5556281"/>
              <a:gd name="connsiteY0" fmla="*/ 1624152 h 5539071"/>
              <a:gd name="connsiteX1" fmla="*/ 1632756 w 5556281"/>
              <a:gd name="connsiteY1" fmla="*/ 2769536 h 5539071"/>
              <a:gd name="connsiteX2" fmla="*/ 2778140 w 5556281"/>
              <a:gd name="connsiteY2" fmla="*/ 3914920 h 5539071"/>
              <a:gd name="connsiteX3" fmla="*/ 3923524 w 5556281"/>
              <a:gd name="connsiteY3" fmla="*/ 2769536 h 5539071"/>
              <a:gd name="connsiteX4" fmla="*/ 2778140 w 5556281"/>
              <a:gd name="connsiteY4" fmla="*/ 1624152 h 5539071"/>
              <a:gd name="connsiteX5" fmla="*/ 3162198 w 5556281"/>
              <a:gd name="connsiteY5" fmla="*/ 151 h 5539071"/>
              <a:gd name="connsiteX6" fmla="*/ 3189369 w 5556281"/>
              <a:gd name="connsiteY6" fmla="*/ 2803 h 5539071"/>
              <a:gd name="connsiteX7" fmla="*/ 3689300 w 5556281"/>
              <a:gd name="connsiteY7" fmla="*/ 121613 h 5539071"/>
              <a:gd name="connsiteX8" fmla="*/ 3747933 w 5556281"/>
              <a:gd name="connsiteY8" fmla="*/ 194134 h 5539071"/>
              <a:gd name="connsiteX9" fmla="*/ 3751019 w 5556281"/>
              <a:gd name="connsiteY9" fmla="*/ 254313 h 5539071"/>
              <a:gd name="connsiteX10" fmla="*/ 3763361 w 5556281"/>
              <a:gd name="connsiteY10" fmla="*/ 627717 h 5539071"/>
              <a:gd name="connsiteX11" fmla="*/ 3767990 w 5556281"/>
              <a:gd name="connsiteY11" fmla="*/ 731096 h 5539071"/>
              <a:gd name="connsiteX12" fmla="*/ 3815825 w 5556281"/>
              <a:gd name="connsiteY12" fmla="*/ 808246 h 5539071"/>
              <a:gd name="connsiteX13" fmla="*/ 3928463 w 5556281"/>
              <a:gd name="connsiteY13" fmla="*/ 873052 h 5539071"/>
              <a:gd name="connsiteX14" fmla="*/ 4036474 w 5556281"/>
              <a:gd name="connsiteY14" fmla="*/ 873052 h 5539071"/>
              <a:gd name="connsiteX15" fmla="*/ 4493199 w 5556281"/>
              <a:gd name="connsiteY15" fmla="*/ 618458 h 5539071"/>
              <a:gd name="connsiteX16" fmla="*/ 4590409 w 5556281"/>
              <a:gd name="connsiteY16" fmla="*/ 632346 h 5539071"/>
              <a:gd name="connsiteX17" fmla="*/ 4945295 w 5556281"/>
              <a:gd name="connsiteY17" fmla="*/ 994951 h 5539071"/>
              <a:gd name="connsiteX18" fmla="*/ 4957640 w 5556281"/>
              <a:gd name="connsiteY18" fmla="*/ 1095244 h 5539071"/>
              <a:gd name="connsiteX19" fmla="*/ 4692245 w 5556281"/>
              <a:gd name="connsiteY19" fmla="*/ 1542714 h 5539071"/>
              <a:gd name="connsiteX20" fmla="*/ 4690702 w 5556281"/>
              <a:gd name="connsiteY20" fmla="*/ 1646093 h 5539071"/>
              <a:gd name="connsiteX21" fmla="*/ 4758594 w 5556281"/>
              <a:gd name="connsiteY21" fmla="*/ 1771076 h 5539071"/>
              <a:gd name="connsiteX22" fmla="*/ 4837287 w 5556281"/>
              <a:gd name="connsiteY22" fmla="*/ 1820454 h 5539071"/>
              <a:gd name="connsiteX23" fmla="*/ 5014730 w 5556281"/>
              <a:gd name="connsiteY23" fmla="*/ 1832795 h 5539071"/>
              <a:gd name="connsiteX24" fmla="*/ 5375792 w 5556281"/>
              <a:gd name="connsiteY24" fmla="*/ 1855941 h 5539071"/>
              <a:gd name="connsiteX25" fmla="*/ 5445227 w 5556281"/>
              <a:gd name="connsiteY25" fmla="*/ 1914574 h 5539071"/>
              <a:gd name="connsiteX26" fmla="*/ 5554778 w 5556281"/>
              <a:gd name="connsiteY26" fmla="*/ 2417592 h 5539071"/>
              <a:gd name="connsiteX27" fmla="*/ 5537805 w 5556281"/>
              <a:gd name="connsiteY27" fmla="*/ 2479311 h 5539071"/>
              <a:gd name="connsiteX28" fmla="*/ 5506946 w 5556281"/>
              <a:gd name="connsiteY28" fmla="*/ 2500914 h 5539071"/>
              <a:gd name="connsiteX29" fmla="*/ 5042505 w 5556281"/>
              <a:gd name="connsiteY29" fmla="*/ 2732362 h 5539071"/>
              <a:gd name="connsiteX30" fmla="*/ 4990041 w 5556281"/>
              <a:gd name="connsiteY30" fmla="*/ 2811055 h 5539071"/>
              <a:gd name="connsiteX31" fmla="*/ 4979243 w 5556281"/>
              <a:gd name="connsiteY31" fmla="*/ 2985415 h 5539071"/>
              <a:gd name="connsiteX32" fmla="*/ 5019359 w 5556281"/>
              <a:gd name="connsiteY32" fmla="*/ 3068735 h 5539071"/>
              <a:gd name="connsiteX33" fmla="*/ 5448313 w 5556281"/>
              <a:gd name="connsiteY33" fmla="*/ 3385051 h 5539071"/>
              <a:gd name="connsiteX34" fmla="*/ 5477631 w 5556281"/>
              <a:gd name="connsiteY34" fmla="*/ 3480714 h 5539071"/>
              <a:gd name="connsiteX35" fmla="*/ 5398935 w 5556281"/>
              <a:gd name="connsiteY35" fmla="*/ 3698277 h 5539071"/>
              <a:gd name="connsiteX36" fmla="*/ 5309443 w 5556281"/>
              <a:gd name="connsiteY36" fmla="*/ 3940526 h 5539071"/>
              <a:gd name="connsiteX37" fmla="*/ 5233836 w 5556281"/>
              <a:gd name="connsiteY37" fmla="*/ 3989904 h 5539071"/>
              <a:gd name="connsiteX38" fmla="*/ 5040963 w 5556281"/>
              <a:gd name="connsiteY38" fmla="*/ 3969844 h 5539071"/>
              <a:gd name="connsiteX39" fmla="*/ 4707676 w 5556281"/>
              <a:gd name="connsiteY39" fmla="*/ 3934357 h 5539071"/>
              <a:gd name="connsiteX40" fmla="*/ 4622811 w 5556281"/>
              <a:gd name="connsiteY40" fmla="*/ 3972931 h 5539071"/>
              <a:gd name="connsiteX41" fmla="*/ 4502457 w 5556281"/>
              <a:gd name="connsiteY41" fmla="*/ 4136489 h 5539071"/>
              <a:gd name="connsiteX42" fmla="*/ 4488570 w 5556281"/>
              <a:gd name="connsiteY42" fmla="*/ 4239869 h 5539071"/>
              <a:gd name="connsiteX43" fmla="*/ 4675271 w 5556281"/>
              <a:gd name="connsiteY43" fmla="*/ 4730542 h 5539071"/>
              <a:gd name="connsiteX44" fmla="*/ 4647499 w 5556281"/>
              <a:gd name="connsiteY44" fmla="*/ 4830835 h 5539071"/>
              <a:gd name="connsiteX45" fmla="*/ 4278723 w 5556281"/>
              <a:gd name="connsiteY45" fmla="*/ 5110117 h 5539071"/>
              <a:gd name="connsiteX46" fmla="*/ 4178427 w 5556281"/>
              <a:gd name="connsiteY46" fmla="*/ 5108574 h 5539071"/>
              <a:gd name="connsiteX47" fmla="*/ 3778791 w 5556281"/>
              <a:gd name="connsiteY47" fmla="*/ 4786089 h 5539071"/>
              <a:gd name="connsiteX48" fmla="*/ 3684671 w 5556281"/>
              <a:gd name="connsiteY48" fmla="*/ 4767572 h 5539071"/>
              <a:gd name="connsiteX49" fmla="*/ 3450134 w 5556281"/>
              <a:gd name="connsiteY49" fmla="*/ 4857067 h 5539071"/>
              <a:gd name="connsiteX50" fmla="*/ 3393044 w 5556281"/>
              <a:gd name="connsiteY50" fmla="*/ 4924959 h 5539071"/>
              <a:gd name="connsiteX51" fmla="*/ 3360639 w 5556281"/>
              <a:gd name="connsiteY51" fmla="*/ 5079259 h 5539071"/>
              <a:gd name="connsiteX52" fmla="*/ 3283489 w 5556281"/>
              <a:gd name="connsiteY52" fmla="*/ 5448033 h 5539071"/>
              <a:gd name="connsiteX53" fmla="*/ 3218687 w 5556281"/>
              <a:gd name="connsiteY53" fmla="*/ 5509753 h 5539071"/>
              <a:gd name="connsiteX54" fmla="*/ 2973349 w 5556281"/>
              <a:gd name="connsiteY54" fmla="*/ 5535985 h 5539071"/>
              <a:gd name="connsiteX55" fmla="*/ 2868424 w 5556281"/>
              <a:gd name="connsiteY55" fmla="*/ 5539071 h 5539071"/>
              <a:gd name="connsiteX56" fmla="*/ 2723385 w 5556281"/>
              <a:gd name="connsiteY56" fmla="*/ 5539071 h 5539071"/>
              <a:gd name="connsiteX57" fmla="*/ 2666291 w 5556281"/>
              <a:gd name="connsiteY57" fmla="*/ 5474265 h 5539071"/>
              <a:gd name="connsiteX58" fmla="*/ 2507365 w 5556281"/>
              <a:gd name="connsiteY58" fmla="*/ 4992850 h 5539071"/>
              <a:gd name="connsiteX59" fmla="*/ 2431758 w 5556281"/>
              <a:gd name="connsiteY59" fmla="*/ 4924959 h 5539071"/>
              <a:gd name="connsiteX60" fmla="*/ 2184880 w 5556281"/>
              <a:gd name="connsiteY60" fmla="*/ 4869411 h 5539071"/>
              <a:gd name="connsiteX61" fmla="*/ 2075329 w 5556281"/>
              <a:gd name="connsiteY61" fmla="*/ 4901813 h 5539071"/>
              <a:gd name="connsiteX62" fmla="*/ 1714267 w 5556281"/>
              <a:gd name="connsiteY62" fmla="*/ 5267504 h 5539071"/>
              <a:gd name="connsiteX63" fmla="*/ 1621686 w 5556281"/>
              <a:gd name="connsiteY63" fmla="*/ 5282934 h 5539071"/>
              <a:gd name="connsiteX64" fmla="*/ 1234396 w 5556281"/>
              <a:gd name="connsiteY64" fmla="*/ 5065371 h 5539071"/>
              <a:gd name="connsiteX65" fmla="*/ 1191190 w 5556281"/>
              <a:gd name="connsiteY65" fmla="*/ 4966618 h 5539071"/>
              <a:gd name="connsiteX66" fmla="*/ 1317715 w 5556281"/>
              <a:gd name="connsiteY66" fmla="*/ 4468233 h 5539071"/>
              <a:gd name="connsiteX67" fmla="*/ 1294569 w 5556281"/>
              <a:gd name="connsiteY67" fmla="*/ 4372566 h 5539071"/>
              <a:gd name="connsiteX68" fmla="*/ 1107868 w 5556281"/>
              <a:gd name="connsiteY68" fmla="*/ 4178149 h 5539071"/>
              <a:gd name="connsiteX69" fmla="*/ 1018376 w 5556281"/>
              <a:gd name="connsiteY69" fmla="*/ 4151917 h 5539071"/>
              <a:gd name="connsiteX70" fmla="*/ 928882 w 5556281"/>
              <a:gd name="connsiteY70" fmla="*/ 4171977 h 5539071"/>
              <a:gd name="connsiteX71" fmla="*/ 509190 w 5556281"/>
              <a:gd name="connsiteY71" fmla="*/ 4266101 h 5539071"/>
              <a:gd name="connsiteX72" fmla="*/ 422778 w 5556281"/>
              <a:gd name="connsiteY72" fmla="*/ 4227524 h 5539071"/>
              <a:gd name="connsiteX73" fmla="*/ 211391 w 5556281"/>
              <a:gd name="connsiteY73" fmla="*/ 3818630 h 5539071"/>
              <a:gd name="connsiteX74" fmla="*/ 226818 w 5556281"/>
              <a:gd name="connsiteY74" fmla="*/ 3730682 h 5539071"/>
              <a:gd name="connsiteX75" fmla="*/ 617198 w 5556281"/>
              <a:gd name="connsiteY75" fmla="*/ 3368077 h 5539071"/>
              <a:gd name="connsiteX76" fmla="*/ 648056 w 5556281"/>
              <a:gd name="connsiteY76" fmla="*/ 3280125 h 5539071"/>
              <a:gd name="connsiteX77" fmla="*/ 601767 w 5556281"/>
              <a:gd name="connsiteY77" fmla="*/ 3028618 h 5539071"/>
              <a:gd name="connsiteX78" fmla="*/ 541591 w 5556281"/>
              <a:gd name="connsiteY78" fmla="*/ 2957640 h 5539071"/>
              <a:gd name="connsiteX79" fmla="*/ 200589 w 5556281"/>
              <a:gd name="connsiteY79" fmla="*/ 2832658 h 5539071"/>
              <a:gd name="connsiteX80" fmla="*/ 0 w 5556281"/>
              <a:gd name="connsiteY80" fmla="*/ 2757051 h 5539071"/>
              <a:gd name="connsiteX81" fmla="*/ 0 w 5556281"/>
              <a:gd name="connsiteY81" fmla="*/ 2670642 h 5539071"/>
              <a:gd name="connsiteX82" fmla="*/ 13885 w 5556281"/>
              <a:gd name="connsiteY82" fmla="*/ 2519428 h 5539071"/>
              <a:gd name="connsiteX83" fmla="*/ 52461 w 5556281"/>
              <a:gd name="connsiteY83" fmla="*/ 2224718 h 5539071"/>
              <a:gd name="connsiteX84" fmla="*/ 114181 w 5556281"/>
              <a:gd name="connsiteY84" fmla="*/ 2162996 h 5539071"/>
              <a:gd name="connsiteX85" fmla="*/ 640344 w 5556281"/>
              <a:gd name="connsiteY85" fmla="*/ 2067332 h 5539071"/>
              <a:gd name="connsiteX86" fmla="*/ 717491 w 5556281"/>
              <a:gd name="connsiteY86" fmla="*/ 2007155 h 5539071"/>
              <a:gd name="connsiteX87" fmla="*/ 797727 w 5556281"/>
              <a:gd name="connsiteY87" fmla="*/ 1814281 h 5539071"/>
              <a:gd name="connsiteX88" fmla="*/ 783840 w 5556281"/>
              <a:gd name="connsiteY88" fmla="*/ 1704727 h 5539071"/>
              <a:gd name="connsiteX89" fmla="*/ 476785 w 5556281"/>
              <a:gd name="connsiteY89" fmla="*/ 1300462 h 5539071"/>
              <a:gd name="connsiteX90" fmla="*/ 478329 w 5556281"/>
              <a:gd name="connsiteY90" fmla="*/ 1200169 h 5539071"/>
              <a:gd name="connsiteX91" fmla="*/ 776125 w 5556281"/>
              <a:gd name="connsiteY91" fmla="*/ 831392 h 5539071"/>
              <a:gd name="connsiteX92" fmla="*/ 881050 w 5556281"/>
              <a:gd name="connsiteY92" fmla="*/ 803617 h 5539071"/>
              <a:gd name="connsiteX93" fmla="*/ 1368636 w 5556281"/>
              <a:gd name="connsiteY93" fmla="*/ 1005749 h 5539071"/>
              <a:gd name="connsiteX94" fmla="*/ 1462757 w 5556281"/>
              <a:gd name="connsiteY94" fmla="*/ 998037 h 5539071"/>
              <a:gd name="connsiteX95" fmla="*/ 1617057 w 5556281"/>
              <a:gd name="connsiteY95" fmla="*/ 891569 h 5539071"/>
              <a:gd name="connsiteX96" fmla="*/ 1654088 w 5556281"/>
              <a:gd name="connsiteY96" fmla="*/ 819048 h 5539071"/>
              <a:gd name="connsiteX97" fmla="*/ 1651005 w 5556281"/>
              <a:gd name="connsiteY97" fmla="*/ 765044 h 5539071"/>
              <a:gd name="connsiteX98" fmla="*/ 1632488 w 5556281"/>
              <a:gd name="connsiteY98" fmla="*/ 525881 h 5539071"/>
              <a:gd name="connsiteX99" fmla="*/ 1613971 w 5556281"/>
              <a:gd name="connsiteY99" fmla="*/ 286715 h 5539071"/>
              <a:gd name="connsiteX100" fmla="*/ 1664889 w 5556281"/>
              <a:gd name="connsiteY100" fmla="*/ 208022 h 5539071"/>
              <a:gd name="connsiteX101" fmla="*/ 2141674 w 5556281"/>
              <a:gd name="connsiteY101" fmla="*/ 47552 h 5539071"/>
              <a:gd name="connsiteX102" fmla="*/ 2172535 w 5556281"/>
              <a:gd name="connsiteY102" fmla="*/ 42923 h 5539071"/>
              <a:gd name="connsiteX103" fmla="*/ 2237341 w 5556281"/>
              <a:gd name="connsiteY103" fmla="*/ 86126 h 5539071"/>
              <a:gd name="connsiteX104" fmla="*/ 2535137 w 5556281"/>
              <a:gd name="connsiteY104" fmla="*/ 516622 h 5539071"/>
              <a:gd name="connsiteX105" fmla="*/ 2627718 w 5556281"/>
              <a:gd name="connsiteY105" fmla="*/ 561368 h 5539071"/>
              <a:gd name="connsiteX106" fmla="*/ 2786647 w 5556281"/>
              <a:gd name="connsiteY106" fmla="*/ 555196 h 5539071"/>
              <a:gd name="connsiteX107" fmla="*/ 2836022 w 5556281"/>
              <a:gd name="connsiteY107" fmla="*/ 530507 h 5539071"/>
              <a:gd name="connsiteX108" fmla="*/ 2852996 w 5556281"/>
              <a:gd name="connsiteY108" fmla="*/ 505821 h 5539071"/>
              <a:gd name="connsiteX109" fmla="*/ 2930143 w 5556281"/>
              <a:gd name="connsiteY109" fmla="*/ 363865 h 5539071"/>
              <a:gd name="connsiteX110" fmla="*/ 3102960 w 5556281"/>
              <a:gd name="connsiteY110" fmla="*/ 41380 h 5539071"/>
              <a:gd name="connsiteX111" fmla="*/ 3162198 w 5556281"/>
              <a:gd name="connsiteY111" fmla="*/ 151 h 5539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5556281" h="5539071">
                <a:moveTo>
                  <a:pt x="2778140" y="1624152"/>
                </a:moveTo>
                <a:cubicBezTo>
                  <a:pt x="2145562" y="1624152"/>
                  <a:pt x="1632756" y="2136958"/>
                  <a:pt x="1632756" y="2769536"/>
                </a:cubicBezTo>
                <a:cubicBezTo>
                  <a:pt x="1632756" y="3402114"/>
                  <a:pt x="2145562" y="3914920"/>
                  <a:pt x="2778140" y="3914920"/>
                </a:cubicBezTo>
                <a:cubicBezTo>
                  <a:pt x="3410718" y="3914920"/>
                  <a:pt x="3923524" y="3402114"/>
                  <a:pt x="3923524" y="2769536"/>
                </a:cubicBezTo>
                <a:cubicBezTo>
                  <a:pt x="3923524" y="2136958"/>
                  <a:pt x="3410718" y="1624152"/>
                  <a:pt x="2778140" y="1624152"/>
                </a:cubicBezTo>
                <a:close/>
                <a:moveTo>
                  <a:pt x="3162198" y="151"/>
                </a:moveTo>
                <a:cubicBezTo>
                  <a:pt x="3170660" y="-379"/>
                  <a:pt x="3179725" y="489"/>
                  <a:pt x="3189369" y="2803"/>
                </a:cubicBezTo>
                <a:cubicBezTo>
                  <a:pt x="3356013" y="42923"/>
                  <a:pt x="3522655" y="81496"/>
                  <a:pt x="3689300" y="121613"/>
                </a:cubicBezTo>
                <a:cubicBezTo>
                  <a:pt x="3724787" y="130871"/>
                  <a:pt x="3746390" y="157104"/>
                  <a:pt x="3747933" y="194134"/>
                </a:cubicBezTo>
                <a:cubicBezTo>
                  <a:pt x="3749476" y="214194"/>
                  <a:pt x="3749476" y="234254"/>
                  <a:pt x="3751019" y="254313"/>
                </a:cubicBezTo>
                <a:cubicBezTo>
                  <a:pt x="3755645" y="379296"/>
                  <a:pt x="3758735" y="504278"/>
                  <a:pt x="3763361" y="627717"/>
                </a:cubicBezTo>
                <a:cubicBezTo>
                  <a:pt x="3764907" y="661664"/>
                  <a:pt x="3766450" y="697152"/>
                  <a:pt x="3767990" y="731096"/>
                </a:cubicBezTo>
                <a:cubicBezTo>
                  <a:pt x="3769533" y="765044"/>
                  <a:pt x="3786507" y="791275"/>
                  <a:pt x="3815825" y="808246"/>
                </a:cubicBezTo>
                <a:cubicBezTo>
                  <a:pt x="3852855" y="829849"/>
                  <a:pt x="3891432" y="849909"/>
                  <a:pt x="3928463" y="873052"/>
                </a:cubicBezTo>
                <a:cubicBezTo>
                  <a:pt x="3965496" y="894655"/>
                  <a:pt x="3999440" y="893112"/>
                  <a:pt x="4036474" y="873052"/>
                </a:cubicBezTo>
                <a:cubicBezTo>
                  <a:pt x="4189231" y="788189"/>
                  <a:pt x="4340442" y="703324"/>
                  <a:pt x="4493199" y="618458"/>
                </a:cubicBezTo>
                <a:cubicBezTo>
                  <a:pt x="4528689" y="598402"/>
                  <a:pt x="4562634" y="604571"/>
                  <a:pt x="4590409" y="632346"/>
                </a:cubicBezTo>
                <a:cubicBezTo>
                  <a:pt x="4709219" y="752699"/>
                  <a:pt x="4826485" y="874595"/>
                  <a:pt x="4945295" y="994951"/>
                </a:cubicBezTo>
                <a:cubicBezTo>
                  <a:pt x="4976157" y="1027352"/>
                  <a:pt x="4980786" y="1056670"/>
                  <a:pt x="4957640" y="1095244"/>
                </a:cubicBezTo>
                <a:cubicBezTo>
                  <a:pt x="4869689" y="1244915"/>
                  <a:pt x="4780194" y="1393043"/>
                  <a:pt x="4692245" y="1542714"/>
                </a:cubicBezTo>
                <a:cubicBezTo>
                  <a:pt x="4672185" y="1576659"/>
                  <a:pt x="4670643" y="1612149"/>
                  <a:pt x="4690702" y="1646093"/>
                </a:cubicBezTo>
                <a:cubicBezTo>
                  <a:pt x="4713848" y="1687753"/>
                  <a:pt x="4735448" y="1729416"/>
                  <a:pt x="4758594" y="1771076"/>
                </a:cubicBezTo>
                <a:cubicBezTo>
                  <a:pt x="4775567" y="1801937"/>
                  <a:pt x="4801797" y="1818911"/>
                  <a:pt x="4837287" y="1820454"/>
                </a:cubicBezTo>
                <a:cubicBezTo>
                  <a:pt x="4895921" y="1825083"/>
                  <a:pt x="4956097" y="1828169"/>
                  <a:pt x="5014730" y="1832795"/>
                </a:cubicBezTo>
                <a:cubicBezTo>
                  <a:pt x="5135083" y="1840510"/>
                  <a:pt x="5255439" y="1848226"/>
                  <a:pt x="5375792" y="1855941"/>
                </a:cubicBezTo>
                <a:cubicBezTo>
                  <a:pt x="5409736" y="1857484"/>
                  <a:pt x="5437511" y="1880630"/>
                  <a:pt x="5445227" y="1914574"/>
                </a:cubicBezTo>
                <a:cubicBezTo>
                  <a:pt x="5482257" y="2081219"/>
                  <a:pt x="5517747" y="2249404"/>
                  <a:pt x="5554778" y="2417592"/>
                </a:cubicBezTo>
                <a:cubicBezTo>
                  <a:pt x="5559407" y="2440735"/>
                  <a:pt x="5553235" y="2460795"/>
                  <a:pt x="5537805" y="2479311"/>
                </a:cubicBezTo>
                <a:cubicBezTo>
                  <a:pt x="5530089" y="2488570"/>
                  <a:pt x="5517747" y="2494742"/>
                  <a:pt x="5506946" y="2500914"/>
                </a:cubicBezTo>
                <a:cubicBezTo>
                  <a:pt x="5352646" y="2578062"/>
                  <a:pt x="5198345" y="2655212"/>
                  <a:pt x="5042505" y="2732362"/>
                </a:cubicBezTo>
                <a:cubicBezTo>
                  <a:pt x="5010101" y="2749336"/>
                  <a:pt x="4991587" y="2774025"/>
                  <a:pt x="4990041" y="2811055"/>
                </a:cubicBezTo>
                <a:cubicBezTo>
                  <a:pt x="4986958" y="2869688"/>
                  <a:pt x="4982326" y="2926779"/>
                  <a:pt x="4979243" y="2985415"/>
                </a:cubicBezTo>
                <a:cubicBezTo>
                  <a:pt x="4977699" y="3019360"/>
                  <a:pt x="4990041" y="3048678"/>
                  <a:pt x="5019359" y="3068735"/>
                </a:cubicBezTo>
                <a:cubicBezTo>
                  <a:pt x="5162858" y="3173660"/>
                  <a:pt x="5304814" y="3280125"/>
                  <a:pt x="5448313" y="3385051"/>
                </a:cubicBezTo>
                <a:cubicBezTo>
                  <a:pt x="5482257" y="3409737"/>
                  <a:pt x="5493059" y="3440598"/>
                  <a:pt x="5477631" y="3480714"/>
                </a:cubicBezTo>
                <a:cubicBezTo>
                  <a:pt x="5451399" y="3553235"/>
                  <a:pt x="5425167" y="3625756"/>
                  <a:pt x="5398935" y="3698277"/>
                </a:cubicBezTo>
                <a:cubicBezTo>
                  <a:pt x="5369619" y="3778514"/>
                  <a:pt x="5340305" y="3860293"/>
                  <a:pt x="5309443" y="3940526"/>
                </a:cubicBezTo>
                <a:cubicBezTo>
                  <a:pt x="5297099" y="3974474"/>
                  <a:pt x="5267781" y="3992990"/>
                  <a:pt x="5233836" y="3989904"/>
                </a:cubicBezTo>
                <a:cubicBezTo>
                  <a:pt x="5169031" y="3983732"/>
                  <a:pt x="5105768" y="3976017"/>
                  <a:pt x="5040963" y="3969844"/>
                </a:cubicBezTo>
                <a:cubicBezTo>
                  <a:pt x="4929868" y="3957500"/>
                  <a:pt x="4818771" y="3945155"/>
                  <a:pt x="4707676" y="3934357"/>
                </a:cubicBezTo>
                <a:cubicBezTo>
                  <a:pt x="4672185" y="3931271"/>
                  <a:pt x="4644413" y="3943612"/>
                  <a:pt x="4622811" y="3972931"/>
                </a:cubicBezTo>
                <a:cubicBezTo>
                  <a:pt x="4582694" y="4026935"/>
                  <a:pt x="4544117" y="4082482"/>
                  <a:pt x="4502457" y="4136489"/>
                </a:cubicBezTo>
                <a:cubicBezTo>
                  <a:pt x="4477769" y="4168891"/>
                  <a:pt x="4474683" y="4202838"/>
                  <a:pt x="4488570" y="4239869"/>
                </a:cubicBezTo>
                <a:cubicBezTo>
                  <a:pt x="4550289" y="4403427"/>
                  <a:pt x="4613552" y="4566983"/>
                  <a:pt x="4675271" y="4730542"/>
                </a:cubicBezTo>
                <a:cubicBezTo>
                  <a:pt x="4692245" y="4773744"/>
                  <a:pt x="4682987" y="4803063"/>
                  <a:pt x="4647499" y="4830835"/>
                </a:cubicBezTo>
                <a:cubicBezTo>
                  <a:pt x="4524057" y="4923416"/>
                  <a:pt x="4402161" y="5017539"/>
                  <a:pt x="4278723" y="5110117"/>
                </a:cubicBezTo>
                <a:cubicBezTo>
                  <a:pt x="4243235" y="5136349"/>
                  <a:pt x="4212374" y="5136349"/>
                  <a:pt x="4178427" y="5108574"/>
                </a:cubicBezTo>
                <a:cubicBezTo>
                  <a:pt x="4045729" y="5002109"/>
                  <a:pt x="3911492" y="4894097"/>
                  <a:pt x="3778791" y="4786089"/>
                </a:cubicBezTo>
                <a:cubicBezTo>
                  <a:pt x="3749476" y="4762943"/>
                  <a:pt x="3718615" y="4755228"/>
                  <a:pt x="3684671" y="4767572"/>
                </a:cubicBezTo>
                <a:cubicBezTo>
                  <a:pt x="3605977" y="4796890"/>
                  <a:pt x="3527284" y="4826209"/>
                  <a:pt x="3450134" y="4857067"/>
                </a:cubicBezTo>
                <a:cubicBezTo>
                  <a:pt x="3419276" y="4869411"/>
                  <a:pt x="3400759" y="4892557"/>
                  <a:pt x="3393044" y="4924959"/>
                </a:cubicBezTo>
                <a:cubicBezTo>
                  <a:pt x="3382243" y="4975877"/>
                  <a:pt x="3371444" y="5028338"/>
                  <a:pt x="3360639" y="5079259"/>
                </a:cubicBezTo>
                <a:cubicBezTo>
                  <a:pt x="3334411" y="5202698"/>
                  <a:pt x="3309721" y="5324594"/>
                  <a:pt x="3283489" y="5448033"/>
                </a:cubicBezTo>
                <a:cubicBezTo>
                  <a:pt x="3275777" y="5483524"/>
                  <a:pt x="3254174" y="5505126"/>
                  <a:pt x="3218687" y="5509753"/>
                </a:cubicBezTo>
                <a:cubicBezTo>
                  <a:pt x="3136907" y="5520554"/>
                  <a:pt x="3055128" y="5528269"/>
                  <a:pt x="2973349" y="5535985"/>
                </a:cubicBezTo>
                <a:cubicBezTo>
                  <a:pt x="2933232" y="5532899"/>
                  <a:pt x="2900828" y="5535985"/>
                  <a:pt x="2868424" y="5539071"/>
                </a:cubicBezTo>
                <a:cubicBezTo>
                  <a:pt x="2820592" y="5539071"/>
                  <a:pt x="2772760" y="5539071"/>
                  <a:pt x="2723385" y="5539071"/>
                </a:cubicBezTo>
                <a:cubicBezTo>
                  <a:pt x="2692523" y="5528269"/>
                  <a:pt x="2675550" y="5505126"/>
                  <a:pt x="2666291" y="5474265"/>
                </a:cubicBezTo>
                <a:cubicBezTo>
                  <a:pt x="2613831" y="5313793"/>
                  <a:pt x="2559826" y="5153323"/>
                  <a:pt x="2507365" y="4992850"/>
                </a:cubicBezTo>
                <a:cubicBezTo>
                  <a:pt x="2495021" y="4955817"/>
                  <a:pt x="2470335" y="4932674"/>
                  <a:pt x="2431758" y="4924959"/>
                </a:cubicBezTo>
                <a:cubicBezTo>
                  <a:pt x="2349979" y="4906442"/>
                  <a:pt x="2266657" y="4889468"/>
                  <a:pt x="2184880" y="4869411"/>
                </a:cubicBezTo>
                <a:cubicBezTo>
                  <a:pt x="2141674" y="4858610"/>
                  <a:pt x="2106187" y="4869411"/>
                  <a:pt x="2075329" y="4901813"/>
                </a:cubicBezTo>
                <a:cubicBezTo>
                  <a:pt x="1956516" y="5025252"/>
                  <a:pt x="1834620" y="5145608"/>
                  <a:pt x="1714267" y="5267504"/>
                </a:cubicBezTo>
                <a:cubicBezTo>
                  <a:pt x="1686492" y="5295276"/>
                  <a:pt x="1654088" y="5301451"/>
                  <a:pt x="1621686" y="5282934"/>
                </a:cubicBezTo>
                <a:cubicBezTo>
                  <a:pt x="1492075" y="5210413"/>
                  <a:pt x="1364004" y="5137892"/>
                  <a:pt x="1234396" y="5065371"/>
                </a:cubicBezTo>
                <a:cubicBezTo>
                  <a:pt x="1189647" y="5040682"/>
                  <a:pt x="1178846" y="5014453"/>
                  <a:pt x="1191190" y="4966618"/>
                </a:cubicBezTo>
                <a:cubicBezTo>
                  <a:pt x="1232850" y="4799977"/>
                  <a:pt x="1276055" y="4634875"/>
                  <a:pt x="1317715" y="4468233"/>
                </a:cubicBezTo>
                <a:cubicBezTo>
                  <a:pt x="1326977" y="4432743"/>
                  <a:pt x="1320801" y="4400341"/>
                  <a:pt x="1294569" y="4372566"/>
                </a:cubicBezTo>
                <a:cubicBezTo>
                  <a:pt x="1232850" y="4307760"/>
                  <a:pt x="1169587" y="4242955"/>
                  <a:pt x="1107868" y="4178149"/>
                </a:cubicBezTo>
                <a:cubicBezTo>
                  <a:pt x="1083182" y="4151917"/>
                  <a:pt x="1052321" y="4144202"/>
                  <a:pt x="1018376" y="4151917"/>
                </a:cubicBezTo>
                <a:cubicBezTo>
                  <a:pt x="987518" y="4158089"/>
                  <a:pt x="958200" y="4165804"/>
                  <a:pt x="928882" y="4171977"/>
                </a:cubicBezTo>
                <a:cubicBezTo>
                  <a:pt x="788469" y="4202838"/>
                  <a:pt x="649599" y="4235239"/>
                  <a:pt x="509190" y="4266101"/>
                </a:cubicBezTo>
                <a:cubicBezTo>
                  <a:pt x="470613" y="4275359"/>
                  <a:pt x="439755" y="4261472"/>
                  <a:pt x="422778" y="4227524"/>
                </a:cubicBezTo>
                <a:cubicBezTo>
                  <a:pt x="351800" y="4091740"/>
                  <a:pt x="282366" y="3954414"/>
                  <a:pt x="211391" y="3818630"/>
                </a:cubicBezTo>
                <a:cubicBezTo>
                  <a:pt x="195960" y="3787772"/>
                  <a:pt x="202132" y="3753825"/>
                  <a:pt x="226818" y="3730682"/>
                </a:cubicBezTo>
                <a:cubicBezTo>
                  <a:pt x="356433" y="3610326"/>
                  <a:pt x="487587" y="3488430"/>
                  <a:pt x="617198" y="3368077"/>
                </a:cubicBezTo>
                <a:cubicBezTo>
                  <a:pt x="643427" y="3344931"/>
                  <a:pt x="652686" y="3314073"/>
                  <a:pt x="648056" y="3280125"/>
                </a:cubicBezTo>
                <a:cubicBezTo>
                  <a:pt x="632629" y="3196803"/>
                  <a:pt x="617198" y="3111937"/>
                  <a:pt x="601767" y="3028618"/>
                </a:cubicBezTo>
                <a:cubicBezTo>
                  <a:pt x="595595" y="2993127"/>
                  <a:pt x="575535" y="2969985"/>
                  <a:pt x="541591" y="2957640"/>
                </a:cubicBezTo>
                <a:cubicBezTo>
                  <a:pt x="427407" y="2915980"/>
                  <a:pt x="313227" y="2874318"/>
                  <a:pt x="200589" y="2832658"/>
                </a:cubicBezTo>
                <a:cubicBezTo>
                  <a:pt x="134241" y="2807969"/>
                  <a:pt x="66349" y="2786366"/>
                  <a:pt x="0" y="2757051"/>
                </a:cubicBezTo>
                <a:cubicBezTo>
                  <a:pt x="0" y="2727733"/>
                  <a:pt x="0" y="2699960"/>
                  <a:pt x="0" y="2670642"/>
                </a:cubicBezTo>
                <a:cubicBezTo>
                  <a:pt x="4629" y="2619724"/>
                  <a:pt x="9259" y="2570349"/>
                  <a:pt x="13885" y="2519428"/>
                </a:cubicBezTo>
                <a:cubicBezTo>
                  <a:pt x="23146" y="2420678"/>
                  <a:pt x="37031" y="2321925"/>
                  <a:pt x="52461" y="2224718"/>
                </a:cubicBezTo>
                <a:cubicBezTo>
                  <a:pt x="57091" y="2192314"/>
                  <a:pt x="80236" y="2169168"/>
                  <a:pt x="114181" y="2162996"/>
                </a:cubicBezTo>
                <a:cubicBezTo>
                  <a:pt x="290081" y="2130594"/>
                  <a:pt x="464441" y="2099733"/>
                  <a:pt x="640344" y="2067332"/>
                </a:cubicBezTo>
                <a:cubicBezTo>
                  <a:pt x="677375" y="2061160"/>
                  <a:pt x="702064" y="2041100"/>
                  <a:pt x="717491" y="2007155"/>
                </a:cubicBezTo>
                <a:cubicBezTo>
                  <a:pt x="743723" y="1942350"/>
                  <a:pt x="771498" y="1877544"/>
                  <a:pt x="797727" y="1814281"/>
                </a:cubicBezTo>
                <a:cubicBezTo>
                  <a:pt x="814701" y="1774162"/>
                  <a:pt x="810072" y="1740217"/>
                  <a:pt x="783840" y="1704727"/>
                </a:cubicBezTo>
                <a:cubicBezTo>
                  <a:pt x="680461" y="1570486"/>
                  <a:pt x="578625" y="1434703"/>
                  <a:pt x="476785" y="1300462"/>
                </a:cubicBezTo>
                <a:cubicBezTo>
                  <a:pt x="450553" y="1264975"/>
                  <a:pt x="450553" y="1234114"/>
                  <a:pt x="478329" y="1200169"/>
                </a:cubicBezTo>
                <a:cubicBezTo>
                  <a:pt x="577078" y="1076730"/>
                  <a:pt x="675831" y="954831"/>
                  <a:pt x="776125" y="831392"/>
                </a:cubicBezTo>
                <a:cubicBezTo>
                  <a:pt x="808529" y="792819"/>
                  <a:pt x="834761" y="785103"/>
                  <a:pt x="881050" y="803617"/>
                </a:cubicBezTo>
                <a:cubicBezTo>
                  <a:pt x="1043065" y="871512"/>
                  <a:pt x="1205078" y="937860"/>
                  <a:pt x="1368636" y="1005749"/>
                </a:cubicBezTo>
                <a:cubicBezTo>
                  <a:pt x="1401037" y="1019637"/>
                  <a:pt x="1433439" y="1018094"/>
                  <a:pt x="1462757" y="998037"/>
                </a:cubicBezTo>
                <a:cubicBezTo>
                  <a:pt x="1515221" y="962546"/>
                  <a:pt x="1566139" y="927059"/>
                  <a:pt x="1617057" y="891569"/>
                </a:cubicBezTo>
                <a:cubicBezTo>
                  <a:pt x="1641743" y="874595"/>
                  <a:pt x="1654088" y="849909"/>
                  <a:pt x="1654088" y="819048"/>
                </a:cubicBezTo>
                <a:cubicBezTo>
                  <a:pt x="1654088" y="800531"/>
                  <a:pt x="1652548" y="782017"/>
                  <a:pt x="1651005" y="765044"/>
                </a:cubicBezTo>
                <a:cubicBezTo>
                  <a:pt x="1644832" y="684807"/>
                  <a:pt x="1638660" y="606114"/>
                  <a:pt x="1632488" y="525881"/>
                </a:cubicBezTo>
                <a:cubicBezTo>
                  <a:pt x="1626316" y="445644"/>
                  <a:pt x="1620143" y="366951"/>
                  <a:pt x="1613971" y="286715"/>
                </a:cubicBezTo>
                <a:cubicBezTo>
                  <a:pt x="1610885" y="249681"/>
                  <a:pt x="1629402" y="220366"/>
                  <a:pt x="1664889" y="208022"/>
                </a:cubicBezTo>
                <a:cubicBezTo>
                  <a:pt x="1823819" y="154017"/>
                  <a:pt x="1982748" y="100013"/>
                  <a:pt x="2141674" y="47552"/>
                </a:cubicBezTo>
                <a:cubicBezTo>
                  <a:pt x="2152476" y="44466"/>
                  <a:pt x="2161734" y="42923"/>
                  <a:pt x="2172535" y="42923"/>
                </a:cubicBezTo>
                <a:cubicBezTo>
                  <a:pt x="2201851" y="44466"/>
                  <a:pt x="2220367" y="62980"/>
                  <a:pt x="2237341" y="86126"/>
                </a:cubicBezTo>
                <a:cubicBezTo>
                  <a:pt x="2336091" y="229624"/>
                  <a:pt x="2436387" y="373123"/>
                  <a:pt x="2535137" y="516622"/>
                </a:cubicBezTo>
                <a:cubicBezTo>
                  <a:pt x="2558283" y="549024"/>
                  <a:pt x="2589145" y="564454"/>
                  <a:pt x="2627718" y="561368"/>
                </a:cubicBezTo>
                <a:cubicBezTo>
                  <a:pt x="2680179" y="556739"/>
                  <a:pt x="2734186" y="555196"/>
                  <a:pt x="2786647" y="555196"/>
                </a:cubicBezTo>
                <a:cubicBezTo>
                  <a:pt x="2808250" y="555196"/>
                  <a:pt x="2823681" y="547480"/>
                  <a:pt x="2836022" y="530507"/>
                </a:cubicBezTo>
                <a:cubicBezTo>
                  <a:pt x="2842195" y="522794"/>
                  <a:pt x="2848367" y="513536"/>
                  <a:pt x="2852996" y="505821"/>
                </a:cubicBezTo>
                <a:cubicBezTo>
                  <a:pt x="2879228" y="457986"/>
                  <a:pt x="2903914" y="410154"/>
                  <a:pt x="2930143" y="363865"/>
                </a:cubicBezTo>
                <a:cubicBezTo>
                  <a:pt x="2987237" y="255856"/>
                  <a:pt x="3045870" y="149388"/>
                  <a:pt x="3102960" y="41380"/>
                </a:cubicBezTo>
                <a:cubicBezTo>
                  <a:pt x="3116848" y="15919"/>
                  <a:pt x="3136811" y="1742"/>
                  <a:pt x="3162198" y="15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wrap="square" anchor="t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08468" y="3753255"/>
            <a:ext cx="3143250" cy="20049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37532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819150" y="1762124"/>
            <a:ext cx="3143250" cy="199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sz="quarter" idx="14" hasCustomPrompt="1"/>
          </p:nvPr>
        </p:nvSpPr>
        <p:spPr>
          <a:xfrm>
            <a:off x="902288" y="1883517"/>
            <a:ext cx="2955610" cy="37532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gradFill>
              <a:gsLst>
                <a:gs pos="0">
                  <a:schemeClr val="bg1">
                    <a:alpha val="59000"/>
                  </a:schemeClr>
                </a:gs>
                <a:gs pos="100000">
                  <a:schemeClr val="bg1">
                    <a:alpha val="17000"/>
                  </a:schemeClr>
                </a:gs>
              </a:gsLst>
              <a:lin ang="78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lvl1pPr marL="0" indent="0">
              <a:buNone/>
              <a:def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그림 개체 틀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12192000" cy="3838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lvl1pPr marL="0" indent="0">
              <a:buNone/>
              <a:def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3810000"/>
            <a:ext cx="121920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그림 개체 틀 121"/>
          <p:cNvSpPr>
            <a:spLocks noGrp="1"/>
          </p:cNvSpPr>
          <p:nvPr>
            <p:ph type="pic" sz="quarter" idx="65" hasCustomPrompt="1"/>
          </p:nvPr>
        </p:nvSpPr>
        <p:spPr>
          <a:xfrm>
            <a:off x="5164510" y="635634"/>
            <a:ext cx="6379790" cy="5586731"/>
          </a:xfrm>
          <a:custGeom>
            <a:avLst/>
            <a:gdLst>
              <a:gd name="connsiteX0" fmla="*/ 0 w 6379790"/>
              <a:gd name="connsiteY0" fmla="*/ 4788536 h 5586731"/>
              <a:gd name="connsiteX1" fmla="*/ 797474 w 6379790"/>
              <a:gd name="connsiteY1" fmla="*/ 4788536 h 5586731"/>
              <a:gd name="connsiteX2" fmla="*/ 797474 w 6379790"/>
              <a:gd name="connsiteY2" fmla="*/ 5586731 h 5586731"/>
              <a:gd name="connsiteX3" fmla="*/ 0 w 6379790"/>
              <a:gd name="connsiteY3" fmla="*/ 5586731 h 5586731"/>
              <a:gd name="connsiteX4" fmla="*/ 2392422 w 6379790"/>
              <a:gd name="connsiteY4" fmla="*/ 3990341 h 5586731"/>
              <a:gd name="connsiteX5" fmla="*/ 2392422 w 6379790"/>
              <a:gd name="connsiteY5" fmla="*/ 4788536 h 5586731"/>
              <a:gd name="connsiteX6" fmla="*/ 3189895 w 6379790"/>
              <a:gd name="connsiteY6" fmla="*/ 4788536 h 5586731"/>
              <a:gd name="connsiteX7" fmla="*/ 3189895 w 6379790"/>
              <a:gd name="connsiteY7" fmla="*/ 3990341 h 5586731"/>
              <a:gd name="connsiteX8" fmla="*/ 0 w 6379790"/>
              <a:gd name="connsiteY8" fmla="*/ 3192146 h 5586731"/>
              <a:gd name="connsiteX9" fmla="*/ 797474 w 6379790"/>
              <a:gd name="connsiteY9" fmla="*/ 3192146 h 5586731"/>
              <a:gd name="connsiteX10" fmla="*/ 797474 w 6379790"/>
              <a:gd name="connsiteY10" fmla="*/ 3990341 h 5586731"/>
              <a:gd name="connsiteX11" fmla="*/ 0 w 6379790"/>
              <a:gd name="connsiteY11" fmla="*/ 3990341 h 5586731"/>
              <a:gd name="connsiteX12" fmla="*/ 1594948 w 6379790"/>
              <a:gd name="connsiteY12" fmla="*/ 0 h 5586731"/>
              <a:gd name="connsiteX13" fmla="*/ 3189895 w 6379790"/>
              <a:gd name="connsiteY13" fmla="*/ 0 h 5586731"/>
              <a:gd name="connsiteX14" fmla="*/ 3189895 w 6379790"/>
              <a:gd name="connsiteY14" fmla="*/ 797563 h 5586731"/>
              <a:gd name="connsiteX15" fmla="*/ 3987369 w 6379790"/>
              <a:gd name="connsiteY15" fmla="*/ 797563 h 5586731"/>
              <a:gd name="connsiteX16" fmla="*/ 3987369 w 6379790"/>
              <a:gd name="connsiteY16" fmla="*/ 0 h 5586731"/>
              <a:gd name="connsiteX17" fmla="*/ 6379790 w 6379790"/>
              <a:gd name="connsiteY17" fmla="*/ 0 h 5586731"/>
              <a:gd name="connsiteX18" fmla="*/ 6379790 w 6379790"/>
              <a:gd name="connsiteY18" fmla="*/ 797561 h 5586731"/>
              <a:gd name="connsiteX19" fmla="*/ 6379790 w 6379790"/>
              <a:gd name="connsiteY19" fmla="*/ 797562 h 5586731"/>
              <a:gd name="connsiteX20" fmla="*/ 6379790 w 6379790"/>
              <a:gd name="connsiteY20" fmla="*/ 1595756 h 5586731"/>
              <a:gd name="connsiteX21" fmla="*/ 5582317 w 6379790"/>
              <a:gd name="connsiteY21" fmla="*/ 1595756 h 5586731"/>
              <a:gd name="connsiteX22" fmla="*/ 5582317 w 6379790"/>
              <a:gd name="connsiteY22" fmla="*/ 2393951 h 5586731"/>
              <a:gd name="connsiteX23" fmla="*/ 6379790 w 6379790"/>
              <a:gd name="connsiteY23" fmla="*/ 2393951 h 5586731"/>
              <a:gd name="connsiteX24" fmla="*/ 6379790 w 6379790"/>
              <a:gd name="connsiteY24" fmla="*/ 3192146 h 5586731"/>
              <a:gd name="connsiteX25" fmla="*/ 6379790 w 6379790"/>
              <a:gd name="connsiteY25" fmla="*/ 3990341 h 5586731"/>
              <a:gd name="connsiteX26" fmla="*/ 6379790 w 6379790"/>
              <a:gd name="connsiteY26" fmla="*/ 4788536 h 5586731"/>
              <a:gd name="connsiteX27" fmla="*/ 6379790 w 6379790"/>
              <a:gd name="connsiteY27" fmla="*/ 5586731 h 5586731"/>
              <a:gd name="connsiteX28" fmla="*/ 5582316 w 6379790"/>
              <a:gd name="connsiteY28" fmla="*/ 5586731 h 5586731"/>
              <a:gd name="connsiteX29" fmla="*/ 5582316 w 6379790"/>
              <a:gd name="connsiteY29" fmla="*/ 4788536 h 5586731"/>
              <a:gd name="connsiteX30" fmla="*/ 4784843 w 6379790"/>
              <a:gd name="connsiteY30" fmla="*/ 4788536 h 5586731"/>
              <a:gd name="connsiteX31" fmla="*/ 4784843 w 6379790"/>
              <a:gd name="connsiteY31" fmla="*/ 5586731 h 5586731"/>
              <a:gd name="connsiteX32" fmla="*/ 3987369 w 6379790"/>
              <a:gd name="connsiteY32" fmla="*/ 5586731 h 5586731"/>
              <a:gd name="connsiteX33" fmla="*/ 3189895 w 6379790"/>
              <a:gd name="connsiteY33" fmla="*/ 5586731 h 5586731"/>
              <a:gd name="connsiteX34" fmla="*/ 2392422 w 6379790"/>
              <a:gd name="connsiteY34" fmla="*/ 5586731 h 5586731"/>
              <a:gd name="connsiteX35" fmla="*/ 2392421 w 6379790"/>
              <a:gd name="connsiteY35" fmla="*/ 5586731 h 5586731"/>
              <a:gd name="connsiteX36" fmla="*/ 1594948 w 6379790"/>
              <a:gd name="connsiteY36" fmla="*/ 5586731 h 5586731"/>
              <a:gd name="connsiteX37" fmla="*/ 1594948 w 6379790"/>
              <a:gd name="connsiteY37" fmla="*/ 4788536 h 5586731"/>
              <a:gd name="connsiteX38" fmla="*/ 797474 w 6379790"/>
              <a:gd name="connsiteY38" fmla="*/ 4788536 h 5586731"/>
              <a:gd name="connsiteX39" fmla="*/ 797474 w 6379790"/>
              <a:gd name="connsiteY39" fmla="*/ 3990341 h 5586731"/>
              <a:gd name="connsiteX40" fmla="*/ 1594948 w 6379790"/>
              <a:gd name="connsiteY40" fmla="*/ 3990341 h 5586731"/>
              <a:gd name="connsiteX41" fmla="*/ 1594948 w 6379790"/>
              <a:gd name="connsiteY41" fmla="*/ 3192146 h 5586731"/>
              <a:gd name="connsiteX42" fmla="*/ 2392421 w 6379790"/>
              <a:gd name="connsiteY42" fmla="*/ 3192146 h 5586731"/>
              <a:gd name="connsiteX43" fmla="*/ 2392421 w 6379790"/>
              <a:gd name="connsiteY43" fmla="*/ 2393951 h 5586731"/>
              <a:gd name="connsiteX44" fmla="*/ 1594948 w 6379790"/>
              <a:gd name="connsiteY44" fmla="*/ 2393951 h 5586731"/>
              <a:gd name="connsiteX45" fmla="*/ 1594948 w 6379790"/>
              <a:gd name="connsiteY45" fmla="*/ 3192146 h 5586731"/>
              <a:gd name="connsiteX46" fmla="*/ 797474 w 6379790"/>
              <a:gd name="connsiteY46" fmla="*/ 3192146 h 5586731"/>
              <a:gd name="connsiteX47" fmla="*/ 797474 w 6379790"/>
              <a:gd name="connsiteY47" fmla="*/ 2393951 h 5586731"/>
              <a:gd name="connsiteX48" fmla="*/ 0 w 6379790"/>
              <a:gd name="connsiteY48" fmla="*/ 2393951 h 5586731"/>
              <a:gd name="connsiteX49" fmla="*/ 0 w 6379790"/>
              <a:gd name="connsiteY49" fmla="*/ 1595756 h 5586731"/>
              <a:gd name="connsiteX50" fmla="*/ 797474 w 6379790"/>
              <a:gd name="connsiteY50" fmla="*/ 1595756 h 5586731"/>
              <a:gd name="connsiteX51" fmla="*/ 797474 w 6379790"/>
              <a:gd name="connsiteY51" fmla="*/ 797565 h 5586731"/>
              <a:gd name="connsiteX52" fmla="*/ 1594948 w 6379790"/>
              <a:gd name="connsiteY52" fmla="*/ 797565 h 5586731"/>
              <a:gd name="connsiteX53" fmla="*/ 1594948 w 6379790"/>
              <a:gd name="connsiteY53" fmla="*/ 1595756 h 5586731"/>
              <a:gd name="connsiteX54" fmla="*/ 2392421 w 6379790"/>
              <a:gd name="connsiteY54" fmla="*/ 1595756 h 5586731"/>
              <a:gd name="connsiteX55" fmla="*/ 2392421 w 6379790"/>
              <a:gd name="connsiteY55" fmla="*/ 797565 h 5586731"/>
              <a:gd name="connsiteX56" fmla="*/ 1594948 w 6379790"/>
              <a:gd name="connsiteY56" fmla="*/ 797565 h 5586731"/>
              <a:gd name="connsiteX57" fmla="*/ 0 w 6379790"/>
              <a:gd name="connsiteY57" fmla="*/ 0 h 5586731"/>
              <a:gd name="connsiteX58" fmla="*/ 797474 w 6379790"/>
              <a:gd name="connsiteY58" fmla="*/ 0 h 5586731"/>
              <a:gd name="connsiteX59" fmla="*/ 797474 w 6379790"/>
              <a:gd name="connsiteY59" fmla="*/ 797565 h 5586731"/>
              <a:gd name="connsiteX60" fmla="*/ 0 w 6379790"/>
              <a:gd name="connsiteY60" fmla="*/ 797565 h 5586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379790" h="5586731">
                <a:moveTo>
                  <a:pt x="0" y="4788536"/>
                </a:moveTo>
                <a:lnTo>
                  <a:pt x="797474" y="4788536"/>
                </a:lnTo>
                <a:lnTo>
                  <a:pt x="797474" y="5586731"/>
                </a:lnTo>
                <a:lnTo>
                  <a:pt x="0" y="5586731"/>
                </a:lnTo>
                <a:close/>
                <a:moveTo>
                  <a:pt x="2392422" y="3990341"/>
                </a:moveTo>
                <a:lnTo>
                  <a:pt x="2392422" y="4788536"/>
                </a:lnTo>
                <a:lnTo>
                  <a:pt x="3189895" y="4788536"/>
                </a:lnTo>
                <a:lnTo>
                  <a:pt x="3189895" y="3990341"/>
                </a:lnTo>
                <a:close/>
                <a:moveTo>
                  <a:pt x="0" y="3192146"/>
                </a:moveTo>
                <a:lnTo>
                  <a:pt x="797474" y="3192146"/>
                </a:lnTo>
                <a:lnTo>
                  <a:pt x="797474" y="3990341"/>
                </a:lnTo>
                <a:lnTo>
                  <a:pt x="0" y="3990341"/>
                </a:lnTo>
                <a:close/>
                <a:moveTo>
                  <a:pt x="1594948" y="0"/>
                </a:moveTo>
                <a:lnTo>
                  <a:pt x="3189895" y="0"/>
                </a:lnTo>
                <a:lnTo>
                  <a:pt x="3189895" y="797563"/>
                </a:lnTo>
                <a:lnTo>
                  <a:pt x="3987369" y="797563"/>
                </a:lnTo>
                <a:lnTo>
                  <a:pt x="3987369" y="0"/>
                </a:lnTo>
                <a:lnTo>
                  <a:pt x="6379790" y="0"/>
                </a:lnTo>
                <a:lnTo>
                  <a:pt x="6379790" y="797561"/>
                </a:lnTo>
                <a:lnTo>
                  <a:pt x="6379790" y="797562"/>
                </a:lnTo>
                <a:lnTo>
                  <a:pt x="6379790" y="1595756"/>
                </a:lnTo>
                <a:lnTo>
                  <a:pt x="5582317" y="1595756"/>
                </a:lnTo>
                <a:lnTo>
                  <a:pt x="5582317" y="2393951"/>
                </a:lnTo>
                <a:lnTo>
                  <a:pt x="6379790" y="2393951"/>
                </a:lnTo>
                <a:lnTo>
                  <a:pt x="6379790" y="3192146"/>
                </a:lnTo>
                <a:lnTo>
                  <a:pt x="6379790" y="3990341"/>
                </a:lnTo>
                <a:lnTo>
                  <a:pt x="6379790" y="4788536"/>
                </a:lnTo>
                <a:lnTo>
                  <a:pt x="6379790" y="5586731"/>
                </a:lnTo>
                <a:lnTo>
                  <a:pt x="5582316" y="5586731"/>
                </a:lnTo>
                <a:lnTo>
                  <a:pt x="5582316" y="4788536"/>
                </a:lnTo>
                <a:lnTo>
                  <a:pt x="4784843" y="4788536"/>
                </a:lnTo>
                <a:lnTo>
                  <a:pt x="4784843" y="5586731"/>
                </a:lnTo>
                <a:lnTo>
                  <a:pt x="3987369" y="5586731"/>
                </a:lnTo>
                <a:lnTo>
                  <a:pt x="3189895" y="5586731"/>
                </a:lnTo>
                <a:lnTo>
                  <a:pt x="2392422" y="5586731"/>
                </a:lnTo>
                <a:lnTo>
                  <a:pt x="2392421" y="5586731"/>
                </a:lnTo>
                <a:lnTo>
                  <a:pt x="1594948" y="5586731"/>
                </a:lnTo>
                <a:lnTo>
                  <a:pt x="1594948" y="4788536"/>
                </a:lnTo>
                <a:lnTo>
                  <a:pt x="797474" y="4788536"/>
                </a:lnTo>
                <a:lnTo>
                  <a:pt x="797474" y="3990341"/>
                </a:lnTo>
                <a:lnTo>
                  <a:pt x="1594948" y="3990341"/>
                </a:lnTo>
                <a:lnTo>
                  <a:pt x="1594948" y="3192146"/>
                </a:lnTo>
                <a:lnTo>
                  <a:pt x="2392421" y="3192146"/>
                </a:lnTo>
                <a:lnTo>
                  <a:pt x="2392421" y="2393951"/>
                </a:lnTo>
                <a:lnTo>
                  <a:pt x="1594948" y="2393951"/>
                </a:lnTo>
                <a:lnTo>
                  <a:pt x="1594948" y="3192146"/>
                </a:lnTo>
                <a:lnTo>
                  <a:pt x="797474" y="3192146"/>
                </a:lnTo>
                <a:lnTo>
                  <a:pt x="797474" y="2393951"/>
                </a:lnTo>
                <a:lnTo>
                  <a:pt x="0" y="2393951"/>
                </a:lnTo>
                <a:lnTo>
                  <a:pt x="0" y="1595756"/>
                </a:lnTo>
                <a:lnTo>
                  <a:pt x="797474" y="1595756"/>
                </a:lnTo>
                <a:lnTo>
                  <a:pt x="797474" y="797565"/>
                </a:lnTo>
                <a:lnTo>
                  <a:pt x="1594948" y="797565"/>
                </a:lnTo>
                <a:lnTo>
                  <a:pt x="1594948" y="1595756"/>
                </a:lnTo>
                <a:lnTo>
                  <a:pt x="2392421" y="1595756"/>
                </a:lnTo>
                <a:lnTo>
                  <a:pt x="2392421" y="797565"/>
                </a:lnTo>
                <a:lnTo>
                  <a:pt x="1594948" y="797565"/>
                </a:lnTo>
                <a:close/>
                <a:moveTo>
                  <a:pt x="0" y="0"/>
                </a:moveTo>
                <a:lnTo>
                  <a:pt x="797474" y="0"/>
                </a:lnTo>
                <a:lnTo>
                  <a:pt x="797474" y="797565"/>
                </a:lnTo>
                <a:lnTo>
                  <a:pt x="0" y="79756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24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0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그림 개체 틀 11"/>
          <p:cNvSpPr>
            <a:spLocks noGrp="1"/>
          </p:cNvSpPr>
          <p:nvPr>
            <p:ph type="pic" sz="quarter" idx="65" hasCustomPrompt="1"/>
          </p:nvPr>
        </p:nvSpPr>
        <p:spPr>
          <a:xfrm>
            <a:off x="6001996" y="665147"/>
            <a:ext cx="5714288" cy="5876452"/>
          </a:xfrm>
          <a:custGeom>
            <a:avLst/>
            <a:gdLst>
              <a:gd name="connsiteX0" fmla="*/ 4336617 w 5408405"/>
              <a:gd name="connsiteY0" fmla="*/ 2979311 h 5561888"/>
              <a:gd name="connsiteX1" fmla="*/ 4337062 w 5408405"/>
              <a:gd name="connsiteY1" fmla="*/ 2980996 h 5561888"/>
              <a:gd name="connsiteX2" fmla="*/ 4335592 w 5408405"/>
              <a:gd name="connsiteY2" fmla="*/ 2981017 h 5561888"/>
              <a:gd name="connsiteX3" fmla="*/ 1888921 w 5408405"/>
              <a:gd name="connsiteY3" fmla="*/ 2261506 h 5561888"/>
              <a:gd name="connsiteX4" fmla="*/ 1889365 w 5408405"/>
              <a:gd name="connsiteY4" fmla="*/ 2263191 h 5561888"/>
              <a:gd name="connsiteX5" fmla="*/ 1887895 w 5408405"/>
              <a:gd name="connsiteY5" fmla="*/ 2263212 h 5561888"/>
              <a:gd name="connsiteX6" fmla="*/ 3291650 w 5408405"/>
              <a:gd name="connsiteY6" fmla="*/ 1876983 h 5561888"/>
              <a:gd name="connsiteX7" fmla="*/ 2384076 w 5408405"/>
              <a:gd name="connsiteY7" fmla="*/ 3290419 h 5561888"/>
              <a:gd name="connsiteX8" fmla="*/ 3291650 w 5408405"/>
              <a:gd name="connsiteY8" fmla="*/ 3290419 h 5561888"/>
              <a:gd name="connsiteX9" fmla="*/ 4585316 w 5408405"/>
              <a:gd name="connsiteY9" fmla="*/ 91 h 5561888"/>
              <a:gd name="connsiteX10" fmla="*/ 4597631 w 5408405"/>
              <a:gd name="connsiteY10" fmla="*/ 4688 h 5561888"/>
              <a:gd name="connsiteX11" fmla="*/ 4597631 w 5408405"/>
              <a:gd name="connsiteY11" fmla="*/ 129174 h 5561888"/>
              <a:gd name="connsiteX12" fmla="*/ 4718305 w 5408405"/>
              <a:gd name="connsiteY12" fmla="*/ 117857 h 5561888"/>
              <a:gd name="connsiteX13" fmla="*/ 4838978 w 5408405"/>
              <a:gd name="connsiteY13" fmla="*/ 114085 h 5561888"/>
              <a:gd name="connsiteX14" fmla="*/ 4827665 w 5408405"/>
              <a:gd name="connsiteY14" fmla="*/ 166897 h 5561888"/>
              <a:gd name="connsiteX15" fmla="*/ 4895544 w 5408405"/>
              <a:gd name="connsiteY15" fmla="*/ 246116 h 5561888"/>
              <a:gd name="connsiteX16" fmla="*/ 5001133 w 5408405"/>
              <a:gd name="connsiteY16" fmla="*/ 193303 h 5561888"/>
              <a:gd name="connsiteX17" fmla="*/ 5061469 w 5408405"/>
              <a:gd name="connsiteY17" fmla="*/ 129174 h 5561888"/>
              <a:gd name="connsiteX18" fmla="*/ 5102951 w 5408405"/>
              <a:gd name="connsiteY18" fmla="*/ 136719 h 5561888"/>
              <a:gd name="connsiteX19" fmla="*/ 5110493 w 5408405"/>
              <a:gd name="connsiteY19" fmla="*/ 170670 h 5561888"/>
              <a:gd name="connsiteX20" fmla="*/ 5053927 w 5408405"/>
              <a:gd name="connsiteY20" fmla="*/ 246116 h 5561888"/>
              <a:gd name="connsiteX21" fmla="*/ 4978506 w 5408405"/>
              <a:gd name="connsiteY21" fmla="*/ 295156 h 5561888"/>
              <a:gd name="connsiteX22" fmla="*/ 4959651 w 5408405"/>
              <a:gd name="connsiteY22" fmla="*/ 347968 h 5561888"/>
              <a:gd name="connsiteX23" fmla="*/ 5019988 w 5408405"/>
              <a:gd name="connsiteY23" fmla="*/ 517722 h 5561888"/>
              <a:gd name="connsiteX24" fmla="*/ 5072782 w 5408405"/>
              <a:gd name="connsiteY24" fmla="*/ 562989 h 5561888"/>
              <a:gd name="connsiteX25" fmla="*/ 5151974 w 5408405"/>
              <a:gd name="connsiteY25" fmla="*/ 574306 h 5561888"/>
              <a:gd name="connsiteX26" fmla="*/ 5174600 w 5408405"/>
              <a:gd name="connsiteY26" fmla="*/ 638435 h 5561888"/>
              <a:gd name="connsiteX27" fmla="*/ 5125577 w 5408405"/>
              <a:gd name="connsiteY27" fmla="*/ 706337 h 5561888"/>
              <a:gd name="connsiteX28" fmla="*/ 5084096 w 5408405"/>
              <a:gd name="connsiteY28" fmla="*/ 845912 h 5561888"/>
              <a:gd name="connsiteX29" fmla="*/ 5148203 w 5408405"/>
              <a:gd name="connsiteY29" fmla="*/ 921358 h 5561888"/>
              <a:gd name="connsiteX30" fmla="*/ 5231166 w 5408405"/>
              <a:gd name="connsiteY30" fmla="*/ 943992 h 5561888"/>
              <a:gd name="connsiteX31" fmla="*/ 5174600 w 5408405"/>
              <a:gd name="connsiteY31" fmla="*/ 1008121 h 5561888"/>
              <a:gd name="connsiteX32" fmla="*/ 5261334 w 5408405"/>
              <a:gd name="connsiteY32" fmla="*/ 1045844 h 5561888"/>
              <a:gd name="connsiteX33" fmla="*/ 5393321 w 5408405"/>
              <a:gd name="connsiteY33" fmla="*/ 1102429 h 5561888"/>
              <a:gd name="connsiteX34" fmla="*/ 5408405 w 5408405"/>
              <a:gd name="connsiteY34" fmla="*/ 1109973 h 5561888"/>
              <a:gd name="connsiteX35" fmla="*/ 5351839 w 5408405"/>
              <a:gd name="connsiteY35" fmla="*/ 1140152 h 5561888"/>
              <a:gd name="connsiteX36" fmla="*/ 5351839 w 5408405"/>
              <a:gd name="connsiteY36" fmla="*/ 1155241 h 5561888"/>
              <a:gd name="connsiteX37" fmla="*/ 5325442 w 5408405"/>
              <a:gd name="connsiteY37" fmla="*/ 1396668 h 5561888"/>
              <a:gd name="connsiteX38" fmla="*/ 5332984 w 5408405"/>
              <a:gd name="connsiteY38" fmla="*/ 1453253 h 5561888"/>
              <a:gd name="connsiteX39" fmla="*/ 5317900 w 5408405"/>
              <a:gd name="connsiteY39" fmla="*/ 1494748 h 5561888"/>
              <a:gd name="connsiteX40" fmla="*/ 5272648 w 5408405"/>
              <a:gd name="connsiteY40" fmla="*/ 1494748 h 5561888"/>
              <a:gd name="connsiteX41" fmla="*/ 5204769 w 5408405"/>
              <a:gd name="connsiteY41" fmla="*/ 1509837 h 5561888"/>
              <a:gd name="connsiteX42" fmla="*/ 5185914 w 5408405"/>
              <a:gd name="connsiteY42" fmla="*/ 1566422 h 5561888"/>
              <a:gd name="connsiteX43" fmla="*/ 5076554 w 5408405"/>
              <a:gd name="connsiteY43" fmla="*/ 1713542 h 5561888"/>
              <a:gd name="connsiteX44" fmla="*/ 5050156 w 5408405"/>
              <a:gd name="connsiteY44" fmla="*/ 1721086 h 5561888"/>
              <a:gd name="connsiteX45" fmla="*/ 4899314 w 5408405"/>
              <a:gd name="connsiteY45" fmla="*/ 1721086 h 5561888"/>
              <a:gd name="connsiteX46" fmla="*/ 4929483 w 5408405"/>
              <a:gd name="connsiteY46" fmla="*/ 1845572 h 5561888"/>
              <a:gd name="connsiteX47" fmla="*/ 4842749 w 5408405"/>
              <a:gd name="connsiteY47" fmla="*/ 1777671 h 5561888"/>
              <a:gd name="connsiteX48" fmla="*/ 4706992 w 5408405"/>
              <a:gd name="connsiteY48" fmla="*/ 1743720 h 5561888"/>
              <a:gd name="connsiteX49" fmla="*/ 4642884 w 5408405"/>
              <a:gd name="connsiteY49" fmla="*/ 1853117 h 5561888"/>
              <a:gd name="connsiteX50" fmla="*/ 4548608 w 5408405"/>
              <a:gd name="connsiteY50" fmla="*/ 1909701 h 5561888"/>
              <a:gd name="connsiteX51" fmla="*/ 4484500 w 5408405"/>
              <a:gd name="connsiteY51" fmla="*/ 1932335 h 5561888"/>
              <a:gd name="connsiteX52" fmla="*/ 4378911 w 5408405"/>
              <a:gd name="connsiteY52" fmla="*/ 1996464 h 5561888"/>
              <a:gd name="connsiteX53" fmla="*/ 4344972 w 5408405"/>
              <a:gd name="connsiteY53" fmla="*/ 2026643 h 5561888"/>
              <a:gd name="connsiteX54" fmla="*/ 4360056 w 5408405"/>
              <a:gd name="connsiteY54" fmla="*/ 2120951 h 5561888"/>
              <a:gd name="connsiteX55" fmla="*/ 4356285 w 5408405"/>
              <a:gd name="connsiteY55" fmla="*/ 2249209 h 5561888"/>
              <a:gd name="connsiteX56" fmla="*/ 4311032 w 5408405"/>
              <a:gd name="connsiteY56" fmla="*/ 2249209 h 5561888"/>
              <a:gd name="connsiteX57" fmla="*/ 4311032 w 5408405"/>
              <a:gd name="connsiteY57" fmla="*/ 2166218 h 5561888"/>
              <a:gd name="connsiteX58" fmla="*/ 4307261 w 5408405"/>
              <a:gd name="connsiteY58" fmla="*/ 2102089 h 5561888"/>
              <a:gd name="connsiteX59" fmla="*/ 4293453 w 5408405"/>
              <a:gd name="connsiteY59" fmla="*/ 2062720 h 5561888"/>
              <a:gd name="connsiteX60" fmla="*/ 4293453 w 5408405"/>
              <a:gd name="connsiteY60" fmla="*/ 2298718 h 5561888"/>
              <a:gd name="connsiteX61" fmla="*/ 4314960 w 5408405"/>
              <a:gd name="connsiteY61" fmla="*/ 2298021 h 5561888"/>
              <a:gd name="connsiteX62" fmla="*/ 4334595 w 5408405"/>
              <a:gd name="connsiteY62" fmla="*/ 2281553 h 5561888"/>
              <a:gd name="connsiteX63" fmla="*/ 4344746 w 5408405"/>
              <a:gd name="connsiteY63" fmla="*/ 2279636 h 5561888"/>
              <a:gd name="connsiteX64" fmla="*/ 4402848 w 5408405"/>
              <a:gd name="connsiteY64" fmla="*/ 2284326 h 5561888"/>
              <a:gd name="connsiteX65" fmla="*/ 4473289 w 5408405"/>
              <a:gd name="connsiteY65" fmla="*/ 2321185 h 5561888"/>
              <a:gd name="connsiteX66" fmla="*/ 4499740 w 5408405"/>
              <a:gd name="connsiteY66" fmla="*/ 2331640 h 5561888"/>
              <a:gd name="connsiteX67" fmla="*/ 4524595 w 5408405"/>
              <a:gd name="connsiteY67" fmla="*/ 2359469 h 5561888"/>
              <a:gd name="connsiteX68" fmla="*/ 4544622 w 5408405"/>
              <a:gd name="connsiteY68" fmla="*/ 2383765 h 5561888"/>
              <a:gd name="connsiteX69" fmla="*/ 4554292 w 5408405"/>
              <a:gd name="connsiteY69" fmla="*/ 2392027 h 5561888"/>
              <a:gd name="connsiteX70" fmla="*/ 4560549 w 5408405"/>
              <a:gd name="connsiteY70" fmla="*/ 2467954 h 5561888"/>
              <a:gd name="connsiteX71" fmla="*/ 4547398 w 5408405"/>
              <a:gd name="connsiteY71" fmla="*/ 2521373 h 5561888"/>
              <a:gd name="connsiteX72" fmla="*/ 4555843 w 5408405"/>
              <a:gd name="connsiteY72" fmla="*/ 2579321 h 5561888"/>
              <a:gd name="connsiteX73" fmla="*/ 4566049 w 5408405"/>
              <a:gd name="connsiteY73" fmla="*/ 2582191 h 5561888"/>
              <a:gd name="connsiteX74" fmla="*/ 4643312 w 5408405"/>
              <a:gd name="connsiteY74" fmla="*/ 2587849 h 5561888"/>
              <a:gd name="connsiteX75" fmla="*/ 4657728 w 5408405"/>
              <a:gd name="connsiteY75" fmla="*/ 2592463 h 5561888"/>
              <a:gd name="connsiteX76" fmla="*/ 4692721 w 5408405"/>
              <a:gd name="connsiteY76" fmla="*/ 2617179 h 5561888"/>
              <a:gd name="connsiteX77" fmla="*/ 4736105 w 5408405"/>
              <a:gd name="connsiteY77" fmla="*/ 2642990 h 5561888"/>
              <a:gd name="connsiteX78" fmla="*/ 4750038 w 5408405"/>
              <a:gd name="connsiteY78" fmla="*/ 2657785 h 5561888"/>
              <a:gd name="connsiteX79" fmla="*/ 4796763 w 5408405"/>
              <a:gd name="connsiteY79" fmla="*/ 2766142 h 5561888"/>
              <a:gd name="connsiteX80" fmla="*/ 4795690 w 5408405"/>
              <a:gd name="connsiteY80" fmla="*/ 2776927 h 5561888"/>
              <a:gd name="connsiteX81" fmla="*/ 4777160 w 5408405"/>
              <a:gd name="connsiteY81" fmla="*/ 2831008 h 5561888"/>
              <a:gd name="connsiteX82" fmla="*/ 4766623 w 5408405"/>
              <a:gd name="connsiteY82" fmla="*/ 2851481 h 5561888"/>
              <a:gd name="connsiteX83" fmla="*/ 4746650 w 5408405"/>
              <a:gd name="connsiteY83" fmla="*/ 2884036 h 5561888"/>
              <a:gd name="connsiteX84" fmla="*/ 4744682 w 5408405"/>
              <a:gd name="connsiteY84" fmla="*/ 2921163 h 5561888"/>
              <a:gd name="connsiteX85" fmla="*/ 4739063 w 5408405"/>
              <a:gd name="connsiteY85" fmla="*/ 2933424 h 5561888"/>
              <a:gd name="connsiteX86" fmla="*/ 4725645 w 5408405"/>
              <a:gd name="connsiteY86" fmla="*/ 2930966 h 5561888"/>
              <a:gd name="connsiteX87" fmla="*/ 4716608 w 5408405"/>
              <a:gd name="connsiteY87" fmla="*/ 2925688 h 5561888"/>
              <a:gd name="connsiteX88" fmla="*/ 4702811 w 5408405"/>
              <a:gd name="connsiteY88" fmla="*/ 2922861 h 5561888"/>
              <a:gd name="connsiteX89" fmla="*/ 4700569 w 5408405"/>
              <a:gd name="connsiteY89" fmla="*/ 2936054 h 5561888"/>
              <a:gd name="connsiteX90" fmla="*/ 4679798 w 5408405"/>
              <a:gd name="connsiteY90" fmla="*/ 2951264 h 5561888"/>
              <a:gd name="connsiteX91" fmla="*/ 4668381 w 5408405"/>
              <a:gd name="connsiteY91" fmla="*/ 2947211 h 5561888"/>
              <a:gd name="connsiteX92" fmla="*/ 4653498 w 5408405"/>
              <a:gd name="connsiteY92" fmla="*/ 2953973 h 5561888"/>
              <a:gd name="connsiteX93" fmla="*/ 4659646 w 5408405"/>
              <a:gd name="connsiteY93" fmla="*/ 2968262 h 5561888"/>
              <a:gd name="connsiteX94" fmla="*/ 4669796 w 5408405"/>
              <a:gd name="connsiteY94" fmla="*/ 2976183 h 5561888"/>
              <a:gd name="connsiteX95" fmla="*/ 4576498 w 5408405"/>
              <a:gd name="connsiteY95" fmla="*/ 2977532 h 5561888"/>
              <a:gd name="connsiteX96" fmla="*/ 4575299 w 5408405"/>
              <a:gd name="connsiteY96" fmla="*/ 2971067 h 5561888"/>
              <a:gd name="connsiteX97" fmla="*/ 4558476 w 5408405"/>
              <a:gd name="connsiteY97" fmla="*/ 2965284 h 5561888"/>
              <a:gd name="connsiteX98" fmla="*/ 4542988 w 5408405"/>
              <a:gd name="connsiteY98" fmla="*/ 2971454 h 5561888"/>
              <a:gd name="connsiteX99" fmla="*/ 4521364 w 5408405"/>
              <a:gd name="connsiteY99" fmla="*/ 2964532 h 5561888"/>
              <a:gd name="connsiteX100" fmla="*/ 4451694 w 5408405"/>
              <a:gd name="connsiteY100" fmla="*/ 2942625 h 5561888"/>
              <a:gd name="connsiteX101" fmla="*/ 4436756 w 5408405"/>
              <a:gd name="connsiteY101" fmla="*/ 2944599 h 5561888"/>
              <a:gd name="connsiteX102" fmla="*/ 4440731 w 5408405"/>
              <a:gd name="connsiteY102" fmla="*/ 2926000 h 5561888"/>
              <a:gd name="connsiteX103" fmla="*/ 4442506 w 5408405"/>
              <a:gd name="connsiteY103" fmla="*/ 2924183 h 5561888"/>
              <a:gd name="connsiteX104" fmla="*/ 4433167 w 5408405"/>
              <a:gd name="connsiteY104" fmla="*/ 2892578 h 5561888"/>
              <a:gd name="connsiteX105" fmla="*/ 4405904 w 5408405"/>
              <a:gd name="connsiteY105" fmla="*/ 2863581 h 5561888"/>
              <a:gd name="connsiteX106" fmla="*/ 4376015 w 5408405"/>
              <a:gd name="connsiteY106" fmla="*/ 2814268 h 5561888"/>
              <a:gd name="connsiteX107" fmla="*/ 4373993 w 5408405"/>
              <a:gd name="connsiteY107" fmla="*/ 2794544 h 5561888"/>
              <a:gd name="connsiteX108" fmla="*/ 4366773 w 5408405"/>
              <a:gd name="connsiteY108" fmla="*/ 2738976 h 5561888"/>
              <a:gd name="connsiteX109" fmla="*/ 4375522 w 5408405"/>
              <a:gd name="connsiteY109" fmla="*/ 2719122 h 5561888"/>
              <a:gd name="connsiteX110" fmla="*/ 4416528 w 5408405"/>
              <a:gd name="connsiteY110" fmla="*/ 2642030 h 5561888"/>
              <a:gd name="connsiteX111" fmla="*/ 4403213 w 5408405"/>
              <a:gd name="connsiteY111" fmla="*/ 2629024 h 5561888"/>
              <a:gd name="connsiteX112" fmla="*/ 4386019 w 5408405"/>
              <a:gd name="connsiteY112" fmla="*/ 2642994 h 5561888"/>
              <a:gd name="connsiteX113" fmla="*/ 4382635 w 5408405"/>
              <a:gd name="connsiteY113" fmla="*/ 2660988 h 5561888"/>
              <a:gd name="connsiteX114" fmla="*/ 4373789 w 5408405"/>
              <a:gd name="connsiteY114" fmla="*/ 2672465 h 5561888"/>
              <a:gd name="connsiteX115" fmla="*/ 4364670 w 5408405"/>
              <a:gd name="connsiteY115" fmla="*/ 2660006 h 5561888"/>
              <a:gd name="connsiteX116" fmla="*/ 4365083 w 5408405"/>
              <a:gd name="connsiteY116" fmla="*/ 2643843 h 5561888"/>
              <a:gd name="connsiteX117" fmla="*/ 4349279 w 5408405"/>
              <a:gd name="connsiteY117" fmla="*/ 2622489 h 5561888"/>
              <a:gd name="connsiteX118" fmla="*/ 4336940 w 5408405"/>
              <a:gd name="connsiteY118" fmla="*/ 2642385 h 5561888"/>
              <a:gd name="connsiteX119" fmla="*/ 4334807 w 5408405"/>
              <a:gd name="connsiteY119" fmla="*/ 2665152 h 5561888"/>
              <a:gd name="connsiteX120" fmla="*/ 4315109 w 5408405"/>
              <a:gd name="connsiteY120" fmla="*/ 2669577 h 5561888"/>
              <a:gd name="connsiteX121" fmla="*/ 4293624 w 5408405"/>
              <a:gd name="connsiteY121" fmla="*/ 2622557 h 5561888"/>
              <a:gd name="connsiteX122" fmla="*/ 4293453 w 5408405"/>
              <a:gd name="connsiteY122" fmla="*/ 2622155 h 5561888"/>
              <a:gd name="connsiteX123" fmla="*/ 4293453 w 5408405"/>
              <a:gd name="connsiteY123" fmla="*/ 3290419 h 5561888"/>
              <a:gd name="connsiteX124" fmla="*/ 4819151 w 5408405"/>
              <a:gd name="connsiteY124" fmla="*/ 3290419 h 5561888"/>
              <a:gd name="connsiteX125" fmla="*/ 4618033 w 5408405"/>
              <a:gd name="connsiteY125" fmla="*/ 3783581 h 5561888"/>
              <a:gd name="connsiteX126" fmla="*/ 4631595 w 5408405"/>
              <a:gd name="connsiteY126" fmla="*/ 3794382 h 5561888"/>
              <a:gd name="connsiteX127" fmla="*/ 4653185 w 5408405"/>
              <a:gd name="connsiteY127" fmla="*/ 3834503 h 5561888"/>
              <a:gd name="connsiteX128" fmla="*/ 4695406 w 5408405"/>
              <a:gd name="connsiteY128" fmla="*/ 3937672 h 5561888"/>
              <a:gd name="connsiteX129" fmla="*/ 4749142 w 5408405"/>
              <a:gd name="connsiteY129" fmla="*/ 4037020 h 5561888"/>
              <a:gd name="connsiteX130" fmla="*/ 4833584 w 5408405"/>
              <a:gd name="connsiteY130" fmla="*/ 4121084 h 5561888"/>
              <a:gd name="connsiteX131" fmla="*/ 4833584 w 5408405"/>
              <a:gd name="connsiteY131" fmla="*/ 4258643 h 5561888"/>
              <a:gd name="connsiteX132" fmla="*/ 4787525 w 5408405"/>
              <a:gd name="connsiteY132" fmla="*/ 4312138 h 5561888"/>
              <a:gd name="connsiteX133" fmla="*/ 4703083 w 5408405"/>
              <a:gd name="connsiteY133" fmla="*/ 4365633 h 5561888"/>
              <a:gd name="connsiteX134" fmla="*/ 4603288 w 5408405"/>
              <a:gd name="connsiteY134" fmla="*/ 4380917 h 5561888"/>
              <a:gd name="connsiteX135" fmla="*/ 4488139 w 5408405"/>
              <a:gd name="connsiteY135" fmla="*/ 4273927 h 5561888"/>
              <a:gd name="connsiteX136" fmla="*/ 4465110 w 5408405"/>
              <a:gd name="connsiteY136" fmla="*/ 4231895 h 5561888"/>
              <a:gd name="connsiteX137" fmla="*/ 4463971 w 5408405"/>
              <a:gd name="connsiteY137" fmla="*/ 4193386 h 5561888"/>
              <a:gd name="connsiteX138" fmla="*/ 4454229 w 5408405"/>
              <a:gd name="connsiteY138" fmla="*/ 4178157 h 5561888"/>
              <a:gd name="connsiteX139" fmla="*/ 4293453 w 5408405"/>
              <a:gd name="connsiteY139" fmla="*/ 4178157 h 5561888"/>
              <a:gd name="connsiteX140" fmla="*/ 4293453 w 5408405"/>
              <a:gd name="connsiteY140" fmla="*/ 4857600 h 5561888"/>
              <a:gd name="connsiteX141" fmla="*/ 3291650 w 5408405"/>
              <a:gd name="connsiteY141" fmla="*/ 4857600 h 5561888"/>
              <a:gd name="connsiteX142" fmla="*/ 3291650 w 5408405"/>
              <a:gd name="connsiteY142" fmla="*/ 4178157 h 5561888"/>
              <a:gd name="connsiteX143" fmla="*/ 2897583 w 5408405"/>
              <a:gd name="connsiteY143" fmla="*/ 4178157 h 5561888"/>
              <a:gd name="connsiteX144" fmla="*/ 2899933 w 5408405"/>
              <a:gd name="connsiteY144" fmla="*/ 4187858 h 5561888"/>
              <a:gd name="connsiteX145" fmla="*/ 2922554 w 5408405"/>
              <a:gd name="connsiteY145" fmla="*/ 4233043 h 5561888"/>
              <a:gd name="connsiteX146" fmla="*/ 2922554 w 5408405"/>
              <a:gd name="connsiteY146" fmla="*/ 4255635 h 5561888"/>
              <a:gd name="connsiteX147" fmla="*/ 2903703 w 5408405"/>
              <a:gd name="connsiteY147" fmla="*/ 4306468 h 5561888"/>
              <a:gd name="connsiteX148" fmla="*/ 2877312 w 5408405"/>
              <a:gd name="connsiteY148" fmla="*/ 4389306 h 5561888"/>
              <a:gd name="connsiteX149" fmla="*/ 2854690 w 5408405"/>
              <a:gd name="connsiteY149" fmla="*/ 4419429 h 5561888"/>
              <a:gd name="connsiteX150" fmla="*/ 2818873 w 5408405"/>
              <a:gd name="connsiteY150" fmla="*/ 4449552 h 5561888"/>
              <a:gd name="connsiteX151" fmla="*/ 2786827 w 5408405"/>
              <a:gd name="connsiteY151" fmla="*/ 4466497 h 5561888"/>
              <a:gd name="connsiteX152" fmla="*/ 2668065 w 5408405"/>
              <a:gd name="connsiteY152" fmla="*/ 4492854 h 5561888"/>
              <a:gd name="connsiteX153" fmla="*/ 2607742 w 5408405"/>
              <a:gd name="connsiteY153" fmla="*/ 4490972 h 5561888"/>
              <a:gd name="connsiteX154" fmla="*/ 2513486 w 5408405"/>
              <a:gd name="connsiteY154" fmla="*/ 4417547 h 5561888"/>
              <a:gd name="connsiteX155" fmla="*/ 2507831 w 5408405"/>
              <a:gd name="connsiteY155" fmla="*/ 4372362 h 5561888"/>
              <a:gd name="connsiteX156" fmla="*/ 2505946 w 5408405"/>
              <a:gd name="connsiteY156" fmla="*/ 4353535 h 5561888"/>
              <a:gd name="connsiteX157" fmla="*/ 2496520 w 5408405"/>
              <a:gd name="connsiteY157" fmla="*/ 4302702 h 5561888"/>
              <a:gd name="connsiteX158" fmla="*/ 2490865 w 5408405"/>
              <a:gd name="connsiteY158" fmla="*/ 4278227 h 5561888"/>
              <a:gd name="connsiteX159" fmla="*/ 2492750 w 5408405"/>
              <a:gd name="connsiteY159" fmla="*/ 4246222 h 5561888"/>
              <a:gd name="connsiteX160" fmla="*/ 2505946 w 5408405"/>
              <a:gd name="connsiteY160" fmla="*/ 4214216 h 5561888"/>
              <a:gd name="connsiteX161" fmla="*/ 2519389 w 5408405"/>
              <a:gd name="connsiteY161" fmla="*/ 4178157 h 5561888"/>
              <a:gd name="connsiteX162" fmla="*/ 1895054 w 5408405"/>
              <a:gd name="connsiteY162" fmla="*/ 4178157 h 5561888"/>
              <a:gd name="connsiteX163" fmla="*/ 1904034 w 5408405"/>
              <a:gd name="connsiteY163" fmla="*/ 4212935 h 5561888"/>
              <a:gd name="connsiteX164" fmla="*/ 1913368 w 5408405"/>
              <a:gd name="connsiteY164" fmla="*/ 4235094 h 5561888"/>
              <a:gd name="connsiteX165" fmla="*/ 1897032 w 5408405"/>
              <a:gd name="connsiteY165" fmla="*/ 4308568 h 5561888"/>
              <a:gd name="connsiteX166" fmla="*/ 1887698 w 5408405"/>
              <a:gd name="connsiteY166" fmla="*/ 4331893 h 5561888"/>
              <a:gd name="connsiteX167" fmla="*/ 1886531 w 5408405"/>
              <a:gd name="connsiteY167" fmla="*/ 4371546 h 5561888"/>
              <a:gd name="connsiteX168" fmla="*/ 1908701 w 5408405"/>
              <a:gd name="connsiteY168" fmla="*/ 4405367 h 5561888"/>
              <a:gd name="connsiteX169" fmla="*/ 1929704 w 5408405"/>
              <a:gd name="connsiteY169" fmla="*/ 4469511 h 5561888"/>
              <a:gd name="connsiteX170" fmla="*/ 1921536 w 5408405"/>
              <a:gd name="connsiteY170" fmla="*/ 4497501 h 5561888"/>
              <a:gd name="connsiteX171" fmla="*/ 1915702 w 5408405"/>
              <a:gd name="connsiteY171" fmla="*/ 4519659 h 5561888"/>
              <a:gd name="connsiteX172" fmla="*/ 1885364 w 5408405"/>
              <a:gd name="connsiteY172" fmla="*/ 4510329 h 5561888"/>
              <a:gd name="connsiteX173" fmla="*/ 1867862 w 5408405"/>
              <a:gd name="connsiteY173" fmla="*/ 4478841 h 5561888"/>
              <a:gd name="connsiteX174" fmla="*/ 1816521 w 5408405"/>
              <a:gd name="connsiteY174" fmla="*/ 4538320 h 5561888"/>
              <a:gd name="connsiteX175" fmla="*/ 1828189 w 5408405"/>
              <a:gd name="connsiteY175" fmla="*/ 4568642 h 5561888"/>
              <a:gd name="connsiteX176" fmla="*/ 1858527 w 5408405"/>
              <a:gd name="connsiteY176" fmla="*/ 4597798 h 5561888"/>
              <a:gd name="connsiteX177" fmla="*/ 1877196 w 5408405"/>
              <a:gd name="connsiteY177" fmla="*/ 4635118 h 5561888"/>
              <a:gd name="connsiteX178" fmla="*/ 1852693 w 5408405"/>
              <a:gd name="connsiteY178" fmla="*/ 4654945 h 5561888"/>
              <a:gd name="connsiteX179" fmla="*/ 1825855 w 5408405"/>
              <a:gd name="connsiteY179" fmla="*/ 4679436 h 5561888"/>
              <a:gd name="connsiteX180" fmla="*/ 1822355 w 5408405"/>
              <a:gd name="connsiteY180" fmla="*/ 4720255 h 5561888"/>
              <a:gd name="connsiteX181" fmla="*/ 1781516 w 5408405"/>
              <a:gd name="connsiteY181" fmla="*/ 4703927 h 5561888"/>
              <a:gd name="connsiteX182" fmla="*/ 1766347 w 5408405"/>
              <a:gd name="connsiteY182" fmla="*/ 4692265 h 5561888"/>
              <a:gd name="connsiteX183" fmla="*/ 1743010 w 5408405"/>
              <a:gd name="connsiteY183" fmla="*/ 4693431 h 5561888"/>
              <a:gd name="connsiteX184" fmla="*/ 1743010 w 5408405"/>
              <a:gd name="connsiteY184" fmla="*/ 4714424 h 5561888"/>
              <a:gd name="connsiteX185" fmla="*/ 1741843 w 5408405"/>
              <a:gd name="connsiteY185" fmla="*/ 4745912 h 5561888"/>
              <a:gd name="connsiteX186" fmla="*/ 1708005 w 5408405"/>
              <a:gd name="connsiteY186" fmla="*/ 4742414 h 5561888"/>
              <a:gd name="connsiteX187" fmla="*/ 1702171 w 5408405"/>
              <a:gd name="connsiteY187" fmla="*/ 4737749 h 5561888"/>
              <a:gd name="connsiteX188" fmla="*/ 1651997 w 5408405"/>
              <a:gd name="connsiteY188" fmla="*/ 4752910 h 5561888"/>
              <a:gd name="connsiteX189" fmla="*/ 1620492 w 5408405"/>
              <a:gd name="connsiteY189" fmla="*/ 4779734 h 5561888"/>
              <a:gd name="connsiteX190" fmla="*/ 1608824 w 5408405"/>
              <a:gd name="connsiteY190" fmla="*/ 4778567 h 5561888"/>
              <a:gd name="connsiteX191" fmla="*/ 1573819 w 5408405"/>
              <a:gd name="connsiteY191" fmla="*/ 4800726 h 5561888"/>
              <a:gd name="connsiteX192" fmla="*/ 1551649 w 5408405"/>
              <a:gd name="connsiteY192" fmla="*/ 4828716 h 5561888"/>
              <a:gd name="connsiteX193" fmla="*/ 1495640 w 5408405"/>
              <a:gd name="connsiteY193" fmla="*/ 4898691 h 5561888"/>
              <a:gd name="connsiteX194" fmla="*/ 1479305 w 5408405"/>
              <a:gd name="connsiteY194" fmla="*/ 4982661 h 5561888"/>
              <a:gd name="connsiteX195" fmla="*/ 1453634 w 5408405"/>
              <a:gd name="connsiteY195" fmla="*/ 5007153 h 5561888"/>
              <a:gd name="connsiteX196" fmla="*/ 1313614 w 5408405"/>
              <a:gd name="connsiteY196" fmla="*/ 4994324 h 5561888"/>
              <a:gd name="connsiteX197" fmla="*/ 1289110 w 5408405"/>
              <a:gd name="connsiteY197" fmla="*/ 4947674 h 5561888"/>
              <a:gd name="connsiteX198" fmla="*/ 1261106 w 5408405"/>
              <a:gd name="connsiteY198" fmla="*/ 4857873 h 5561888"/>
              <a:gd name="connsiteX199" fmla="*/ 1242437 w 5408405"/>
              <a:gd name="connsiteY199" fmla="*/ 4847376 h 5561888"/>
              <a:gd name="connsiteX200" fmla="*/ 1158424 w 5408405"/>
              <a:gd name="connsiteY200" fmla="*/ 4842711 h 5561888"/>
              <a:gd name="connsiteX201" fmla="*/ 1118752 w 5408405"/>
              <a:gd name="connsiteY201" fmla="*/ 4824051 h 5561888"/>
              <a:gd name="connsiteX202" fmla="*/ 1083747 w 5408405"/>
              <a:gd name="connsiteY202" fmla="*/ 4792562 h 5561888"/>
              <a:gd name="connsiteX203" fmla="*/ 1035907 w 5408405"/>
              <a:gd name="connsiteY203" fmla="*/ 4794895 h 5561888"/>
              <a:gd name="connsiteX204" fmla="*/ 988066 w 5408405"/>
              <a:gd name="connsiteY204" fmla="*/ 4777401 h 5561888"/>
              <a:gd name="connsiteX205" fmla="*/ 915722 w 5408405"/>
              <a:gd name="connsiteY205" fmla="*/ 4761074 h 5561888"/>
              <a:gd name="connsiteX206" fmla="*/ 865548 w 5408405"/>
              <a:gd name="connsiteY206" fmla="*/ 4818220 h 5561888"/>
              <a:gd name="connsiteX207" fmla="*/ 810707 w 5408405"/>
              <a:gd name="connsiteY207" fmla="*/ 4848543 h 5561888"/>
              <a:gd name="connsiteX208" fmla="*/ 871382 w 5408405"/>
              <a:gd name="connsiteY208" fmla="*/ 4748245 h 5561888"/>
              <a:gd name="connsiteX209" fmla="*/ 823542 w 5408405"/>
              <a:gd name="connsiteY209" fmla="*/ 4650280 h 5561888"/>
              <a:gd name="connsiteX210" fmla="*/ 751198 w 5408405"/>
              <a:gd name="connsiteY210" fmla="*/ 4589635 h 5561888"/>
              <a:gd name="connsiteX211" fmla="*/ 745364 w 5408405"/>
              <a:gd name="connsiteY211" fmla="*/ 4572141 h 5561888"/>
              <a:gd name="connsiteX212" fmla="*/ 712693 w 5408405"/>
              <a:gd name="connsiteY212" fmla="*/ 4558146 h 5561888"/>
              <a:gd name="connsiteX213" fmla="*/ 663685 w 5408405"/>
              <a:gd name="connsiteY213" fmla="*/ 4604796 h 5561888"/>
              <a:gd name="connsiteX214" fmla="*/ 633348 w 5408405"/>
              <a:gd name="connsiteY214" fmla="*/ 4615292 h 5561888"/>
              <a:gd name="connsiteX215" fmla="*/ 592508 w 5408405"/>
              <a:gd name="connsiteY215" fmla="*/ 4608295 h 5561888"/>
              <a:gd name="connsiteX216" fmla="*/ 572672 w 5408405"/>
              <a:gd name="connsiteY216" fmla="*/ 4621123 h 5561888"/>
              <a:gd name="connsiteX217" fmla="*/ 583174 w 5408405"/>
              <a:gd name="connsiteY217" fmla="*/ 4643282 h 5561888"/>
              <a:gd name="connsiteX218" fmla="*/ 604177 w 5408405"/>
              <a:gd name="connsiteY218" fmla="*/ 4652612 h 5561888"/>
              <a:gd name="connsiteX219" fmla="*/ 618179 w 5408405"/>
              <a:gd name="connsiteY219" fmla="*/ 4680602 h 5561888"/>
              <a:gd name="connsiteX220" fmla="*/ 663685 w 5408405"/>
              <a:gd name="connsiteY220" fmla="*/ 4770404 h 5561888"/>
              <a:gd name="connsiteX221" fmla="*/ 680021 w 5408405"/>
              <a:gd name="connsiteY221" fmla="*/ 4783232 h 5561888"/>
              <a:gd name="connsiteX222" fmla="*/ 657851 w 5408405"/>
              <a:gd name="connsiteY222" fmla="*/ 4797227 h 5561888"/>
              <a:gd name="connsiteX223" fmla="*/ 654351 w 5408405"/>
              <a:gd name="connsiteY223" fmla="*/ 4797227 h 5561888"/>
              <a:gd name="connsiteX224" fmla="*/ 632181 w 5408405"/>
              <a:gd name="connsiteY224" fmla="*/ 4836880 h 5561888"/>
              <a:gd name="connsiteX225" fmla="*/ 629847 w 5408405"/>
              <a:gd name="connsiteY225" fmla="*/ 4891694 h 5561888"/>
              <a:gd name="connsiteX226" fmla="*/ 610011 w 5408405"/>
              <a:gd name="connsiteY226" fmla="*/ 4968666 h 5561888"/>
              <a:gd name="connsiteX227" fmla="*/ 592508 w 5408405"/>
              <a:gd name="connsiteY227" fmla="*/ 4989659 h 5561888"/>
              <a:gd name="connsiteX228" fmla="*/ 544668 w 5408405"/>
              <a:gd name="connsiteY228" fmla="*/ 5050304 h 5561888"/>
              <a:gd name="connsiteX229" fmla="*/ 516664 w 5408405"/>
              <a:gd name="connsiteY229" fmla="*/ 5060800 h 5561888"/>
              <a:gd name="connsiteX230" fmla="*/ 401147 w 5408405"/>
              <a:gd name="connsiteY230" fmla="*/ 5094622 h 5561888"/>
              <a:gd name="connsiteX231" fmla="*/ 401147 w 5408405"/>
              <a:gd name="connsiteY231" fmla="*/ 5120279 h 5561888"/>
              <a:gd name="connsiteX232" fmla="*/ 431485 w 5408405"/>
              <a:gd name="connsiteY232" fmla="*/ 5123778 h 5561888"/>
              <a:gd name="connsiteX233" fmla="*/ 452488 w 5408405"/>
              <a:gd name="connsiteY233" fmla="*/ 5109783 h 5561888"/>
              <a:gd name="connsiteX234" fmla="*/ 472324 w 5408405"/>
              <a:gd name="connsiteY234" fmla="*/ 5107450 h 5561888"/>
              <a:gd name="connsiteX235" fmla="*/ 468824 w 5408405"/>
              <a:gd name="connsiteY235" fmla="*/ 5128443 h 5561888"/>
              <a:gd name="connsiteX236" fmla="*/ 452488 w 5408405"/>
              <a:gd name="connsiteY236" fmla="*/ 5143604 h 5561888"/>
              <a:gd name="connsiteX237" fmla="*/ 446654 w 5408405"/>
              <a:gd name="connsiteY237" fmla="*/ 5179758 h 5561888"/>
              <a:gd name="connsiteX238" fmla="*/ 478158 w 5408405"/>
              <a:gd name="connsiteY238" fmla="*/ 5172761 h 5561888"/>
              <a:gd name="connsiteX239" fmla="*/ 502662 w 5408405"/>
              <a:gd name="connsiteY239" fmla="*/ 5152934 h 5561888"/>
              <a:gd name="connsiteX240" fmla="*/ 525999 w 5408405"/>
              <a:gd name="connsiteY240" fmla="*/ 5168096 h 5561888"/>
              <a:gd name="connsiteX241" fmla="*/ 500328 w 5408405"/>
              <a:gd name="connsiteY241" fmla="*/ 5234572 h 5561888"/>
              <a:gd name="connsiteX242" fmla="*/ 500328 w 5408405"/>
              <a:gd name="connsiteY242" fmla="*/ 5298716 h 5561888"/>
              <a:gd name="connsiteX243" fmla="*/ 523665 w 5408405"/>
              <a:gd name="connsiteY243" fmla="*/ 5324373 h 5561888"/>
              <a:gd name="connsiteX244" fmla="*/ 530666 w 5408405"/>
              <a:gd name="connsiteY244" fmla="*/ 5337202 h 5561888"/>
              <a:gd name="connsiteX245" fmla="*/ 517831 w 5408405"/>
              <a:gd name="connsiteY245" fmla="*/ 5344200 h 5561888"/>
              <a:gd name="connsiteX246" fmla="*/ 493327 w 5408405"/>
              <a:gd name="connsiteY246" fmla="*/ 5367525 h 5561888"/>
              <a:gd name="connsiteX247" fmla="*/ 462989 w 5408405"/>
              <a:gd name="connsiteY247" fmla="*/ 5420006 h 5561888"/>
              <a:gd name="connsiteX248" fmla="*/ 461823 w 5408405"/>
              <a:gd name="connsiteY248" fmla="*/ 5447996 h 5561888"/>
              <a:gd name="connsiteX249" fmla="*/ 471157 w 5408405"/>
              <a:gd name="connsiteY249" fmla="*/ 5466656 h 5561888"/>
              <a:gd name="connsiteX250" fmla="*/ 451321 w 5408405"/>
              <a:gd name="connsiteY250" fmla="*/ 5479485 h 5561888"/>
              <a:gd name="connsiteX251" fmla="*/ 434985 w 5408405"/>
              <a:gd name="connsiteY251" fmla="*/ 5481817 h 5561888"/>
              <a:gd name="connsiteX252" fmla="*/ 415149 w 5408405"/>
              <a:gd name="connsiteY252" fmla="*/ 5529634 h 5561888"/>
              <a:gd name="connsiteX253" fmla="*/ 420983 w 5408405"/>
              <a:gd name="connsiteY253" fmla="*/ 5538964 h 5561888"/>
              <a:gd name="connsiteX254" fmla="*/ 419816 w 5408405"/>
              <a:gd name="connsiteY254" fmla="*/ 5559956 h 5561888"/>
              <a:gd name="connsiteX255" fmla="*/ 401147 w 5408405"/>
              <a:gd name="connsiteY255" fmla="*/ 5555291 h 5561888"/>
              <a:gd name="connsiteX256" fmla="*/ 389479 w 5408405"/>
              <a:gd name="connsiteY256" fmla="*/ 5540130 h 5561888"/>
              <a:gd name="connsiteX257" fmla="*/ 366142 w 5408405"/>
              <a:gd name="connsiteY257" fmla="*/ 5536631 h 5561888"/>
              <a:gd name="connsiteX258" fmla="*/ 294965 w 5408405"/>
              <a:gd name="connsiteY258" fmla="*/ 5555291 h 5561888"/>
              <a:gd name="connsiteX259" fmla="*/ 206285 w 5408405"/>
              <a:gd name="connsiteY259" fmla="*/ 5561122 h 5561888"/>
              <a:gd name="connsiteX260" fmla="*/ 185282 w 5408405"/>
              <a:gd name="connsiteY260" fmla="*/ 5550626 h 5561888"/>
              <a:gd name="connsiteX261" fmla="*/ 124607 w 5408405"/>
              <a:gd name="connsiteY261" fmla="*/ 5522636 h 5561888"/>
              <a:gd name="connsiteX262" fmla="*/ 112938 w 5408405"/>
              <a:gd name="connsiteY262" fmla="*/ 5514472 h 5561888"/>
              <a:gd name="connsiteX263" fmla="*/ 61597 w 5408405"/>
              <a:gd name="connsiteY263" fmla="*/ 5452661 h 5561888"/>
              <a:gd name="connsiteX264" fmla="*/ 30093 w 5408405"/>
              <a:gd name="connsiteY264" fmla="*/ 5347698 h 5561888"/>
              <a:gd name="connsiteX265" fmla="*/ 14924 w 5408405"/>
              <a:gd name="connsiteY265" fmla="*/ 5311544 h 5561888"/>
              <a:gd name="connsiteX266" fmla="*/ 18424 w 5408405"/>
              <a:gd name="connsiteY266" fmla="*/ 5260229 h 5561888"/>
              <a:gd name="connsiteX267" fmla="*/ 23092 w 5408405"/>
              <a:gd name="connsiteY267" fmla="*/ 5217078 h 5561888"/>
              <a:gd name="connsiteX268" fmla="*/ 21925 w 5408405"/>
              <a:gd name="connsiteY268" fmla="*/ 5199584 h 5561888"/>
              <a:gd name="connsiteX269" fmla="*/ 90768 w 5408405"/>
              <a:gd name="connsiteY269" fmla="*/ 5120279 h 5561888"/>
              <a:gd name="connsiteX270" fmla="*/ 156111 w 5408405"/>
              <a:gd name="connsiteY270" fmla="*/ 5081793 h 5561888"/>
              <a:gd name="connsiteX271" fmla="*/ 205118 w 5408405"/>
              <a:gd name="connsiteY271" fmla="*/ 5017649 h 5561888"/>
              <a:gd name="connsiteX272" fmla="*/ 198117 w 5408405"/>
              <a:gd name="connsiteY272" fmla="*/ 5004820 h 5561888"/>
              <a:gd name="connsiteX273" fmla="*/ 129274 w 5408405"/>
              <a:gd name="connsiteY273" fmla="*/ 4923183 h 5561888"/>
              <a:gd name="connsiteX274" fmla="*/ 119939 w 5408405"/>
              <a:gd name="connsiteY274" fmla="*/ 4904523 h 5561888"/>
              <a:gd name="connsiteX275" fmla="*/ 110604 w 5408405"/>
              <a:gd name="connsiteY275" fmla="*/ 4846210 h 5561888"/>
              <a:gd name="connsiteX276" fmla="*/ 94269 w 5408405"/>
              <a:gd name="connsiteY276" fmla="*/ 4778567 h 5561888"/>
              <a:gd name="connsiteX277" fmla="*/ 95436 w 5408405"/>
              <a:gd name="connsiteY277" fmla="*/ 4750577 h 5561888"/>
              <a:gd name="connsiteX278" fmla="*/ 157278 w 5408405"/>
              <a:gd name="connsiteY278" fmla="*/ 4600131 h 5561888"/>
              <a:gd name="connsiteX279" fmla="*/ 168946 w 5408405"/>
              <a:gd name="connsiteY279" fmla="*/ 4590801 h 5561888"/>
              <a:gd name="connsiteX280" fmla="*/ 240123 w 5408405"/>
              <a:gd name="connsiteY280" fmla="*/ 4556980 h 5561888"/>
              <a:gd name="connsiteX281" fmla="*/ 270461 w 5408405"/>
              <a:gd name="connsiteY281" fmla="*/ 4547650 h 5561888"/>
              <a:gd name="connsiteX282" fmla="*/ 321802 w 5408405"/>
              <a:gd name="connsiteY282" fmla="*/ 4535987 h 5561888"/>
              <a:gd name="connsiteX283" fmla="*/ 360308 w 5408405"/>
              <a:gd name="connsiteY283" fmla="*/ 4502166 h 5561888"/>
              <a:gd name="connsiteX284" fmla="*/ 388312 w 5408405"/>
              <a:gd name="connsiteY284" fmla="*/ 4511496 h 5561888"/>
              <a:gd name="connsiteX285" fmla="*/ 391812 w 5408405"/>
              <a:gd name="connsiteY285" fmla="*/ 4525491 h 5561888"/>
              <a:gd name="connsiteX286" fmla="*/ 402314 w 5408405"/>
              <a:gd name="connsiteY286" fmla="*/ 4541818 h 5561888"/>
              <a:gd name="connsiteX287" fmla="*/ 417483 w 5408405"/>
              <a:gd name="connsiteY287" fmla="*/ 4531322 h 5561888"/>
              <a:gd name="connsiteX288" fmla="*/ 452488 w 5408405"/>
              <a:gd name="connsiteY288" fmla="*/ 4537153 h 5561888"/>
              <a:gd name="connsiteX289" fmla="*/ 459489 w 5408405"/>
              <a:gd name="connsiteY289" fmla="*/ 4552315 h 5561888"/>
              <a:gd name="connsiteX290" fmla="*/ 480492 w 5408405"/>
              <a:gd name="connsiteY290" fmla="*/ 4560478 h 5561888"/>
              <a:gd name="connsiteX291" fmla="*/ 488660 w 5408405"/>
              <a:gd name="connsiteY291" fmla="*/ 4540652 h 5561888"/>
              <a:gd name="connsiteX292" fmla="*/ 521331 w 5408405"/>
              <a:gd name="connsiteY292" fmla="*/ 4399536 h 5561888"/>
              <a:gd name="connsiteX293" fmla="*/ 596009 w 5408405"/>
              <a:gd name="connsiteY293" fmla="*/ 4352885 h 5561888"/>
              <a:gd name="connsiteX294" fmla="*/ 607677 w 5408405"/>
              <a:gd name="connsiteY294" fmla="*/ 4333059 h 5561888"/>
              <a:gd name="connsiteX295" fmla="*/ 586674 w 5408405"/>
              <a:gd name="connsiteY295" fmla="*/ 4287575 h 5561888"/>
              <a:gd name="connsiteX296" fmla="*/ 591341 w 5408405"/>
              <a:gd name="connsiteY296" fmla="*/ 4267749 h 5561888"/>
              <a:gd name="connsiteX297" fmla="*/ 613511 w 5408405"/>
              <a:gd name="connsiteY297" fmla="*/ 4189610 h 5561888"/>
              <a:gd name="connsiteX298" fmla="*/ 596009 w 5408405"/>
              <a:gd name="connsiteY298" fmla="*/ 4181446 h 5561888"/>
              <a:gd name="connsiteX299" fmla="*/ 545835 w 5408405"/>
              <a:gd name="connsiteY299" fmla="*/ 4156955 h 5561888"/>
              <a:gd name="connsiteX300" fmla="*/ 563337 w 5408405"/>
              <a:gd name="connsiteY300" fmla="*/ 4103308 h 5561888"/>
              <a:gd name="connsiteX301" fmla="*/ 592508 w 5408405"/>
              <a:gd name="connsiteY301" fmla="*/ 4098643 h 5561888"/>
              <a:gd name="connsiteX302" fmla="*/ 617012 w 5408405"/>
              <a:gd name="connsiteY302" fmla="*/ 4054325 h 5561888"/>
              <a:gd name="connsiteX303" fmla="*/ 599509 w 5408405"/>
              <a:gd name="connsiteY303" fmla="*/ 4021670 h 5561888"/>
              <a:gd name="connsiteX304" fmla="*/ 578506 w 5408405"/>
              <a:gd name="connsiteY304" fmla="*/ 3990181 h 5561888"/>
              <a:gd name="connsiteX305" fmla="*/ 572672 w 5408405"/>
              <a:gd name="connsiteY305" fmla="*/ 3961025 h 5561888"/>
              <a:gd name="connsiteX306" fmla="*/ 598343 w 5408405"/>
              <a:gd name="connsiteY306" fmla="*/ 3955193 h 5561888"/>
              <a:gd name="connsiteX307" fmla="*/ 655518 w 5408405"/>
              <a:gd name="connsiteY307" fmla="*/ 3936533 h 5561888"/>
              <a:gd name="connsiteX308" fmla="*/ 660185 w 5408405"/>
              <a:gd name="connsiteY308" fmla="*/ 3906211 h 5561888"/>
              <a:gd name="connsiteX309" fmla="*/ 618179 w 5408405"/>
              <a:gd name="connsiteY309" fmla="*/ 3857228 h 5561888"/>
              <a:gd name="connsiteX310" fmla="*/ 593675 w 5408405"/>
              <a:gd name="connsiteY310" fmla="*/ 3769759 h 5561888"/>
              <a:gd name="connsiteX311" fmla="*/ 586674 w 5408405"/>
              <a:gd name="connsiteY311" fmla="*/ 3748767 h 5561888"/>
              <a:gd name="connsiteX312" fmla="*/ 554003 w 5408405"/>
              <a:gd name="connsiteY312" fmla="*/ 3724275 h 5561888"/>
              <a:gd name="connsiteX313" fmla="*/ 507329 w 5408405"/>
              <a:gd name="connsiteY313" fmla="*/ 3686955 h 5561888"/>
              <a:gd name="connsiteX314" fmla="*/ 490993 w 5408405"/>
              <a:gd name="connsiteY314" fmla="*/ 3713779 h 5561888"/>
              <a:gd name="connsiteX315" fmla="*/ 469990 w 5408405"/>
              <a:gd name="connsiteY315" fmla="*/ 3732439 h 5561888"/>
              <a:gd name="connsiteX316" fmla="*/ 432652 w 5408405"/>
              <a:gd name="connsiteY316" fmla="*/ 3712613 h 5561888"/>
              <a:gd name="connsiteX317" fmla="*/ 446654 w 5408405"/>
              <a:gd name="connsiteY317" fmla="*/ 3690454 h 5561888"/>
              <a:gd name="connsiteX318" fmla="*/ 461823 w 5408405"/>
              <a:gd name="connsiteY318" fmla="*/ 3672960 h 5561888"/>
              <a:gd name="connsiteX319" fmla="*/ 410482 w 5408405"/>
              <a:gd name="connsiteY319" fmla="*/ 3637973 h 5561888"/>
              <a:gd name="connsiteX320" fmla="*/ 382478 w 5408405"/>
              <a:gd name="connsiteY320" fmla="*/ 3649635 h 5561888"/>
              <a:gd name="connsiteX321" fmla="*/ 354474 w 5408405"/>
              <a:gd name="connsiteY321" fmla="*/ 3637973 h 5561888"/>
              <a:gd name="connsiteX322" fmla="*/ 357974 w 5408405"/>
              <a:gd name="connsiteY322" fmla="*/ 3609983 h 5561888"/>
              <a:gd name="connsiteX323" fmla="*/ 403481 w 5408405"/>
              <a:gd name="connsiteY323" fmla="*/ 3584325 h 5561888"/>
              <a:gd name="connsiteX324" fmla="*/ 431485 w 5408405"/>
              <a:gd name="connsiteY324" fmla="*/ 3528345 h 5561888"/>
              <a:gd name="connsiteX325" fmla="*/ 405814 w 5408405"/>
              <a:gd name="connsiteY325" fmla="*/ 3405889 h 5561888"/>
              <a:gd name="connsiteX326" fmla="*/ 388312 w 5408405"/>
              <a:gd name="connsiteY326" fmla="*/ 3388395 h 5561888"/>
              <a:gd name="connsiteX327" fmla="*/ 296132 w 5408405"/>
              <a:gd name="connsiteY327" fmla="*/ 3352241 h 5561888"/>
              <a:gd name="connsiteX328" fmla="*/ 370809 w 5408405"/>
              <a:gd name="connsiteY328" fmla="*/ 3348742 h 5561888"/>
              <a:gd name="connsiteX329" fmla="*/ 451321 w 5408405"/>
              <a:gd name="connsiteY329" fmla="*/ 3286931 h 5561888"/>
              <a:gd name="connsiteX330" fmla="*/ 426817 w 5408405"/>
              <a:gd name="connsiteY330" fmla="*/ 3249611 h 5561888"/>
              <a:gd name="connsiteX331" fmla="*/ 399980 w 5408405"/>
              <a:gd name="connsiteY331" fmla="*/ 3240281 h 5561888"/>
              <a:gd name="connsiteX332" fmla="*/ 437319 w 5408405"/>
              <a:gd name="connsiteY332" fmla="*/ 3226286 h 5561888"/>
              <a:gd name="connsiteX333" fmla="*/ 455988 w 5408405"/>
              <a:gd name="connsiteY333" fmla="*/ 3208792 h 5561888"/>
              <a:gd name="connsiteX334" fmla="*/ 430318 w 5408405"/>
              <a:gd name="connsiteY334" fmla="*/ 3122489 h 5561888"/>
              <a:gd name="connsiteX335" fmla="*/ 401147 w 5408405"/>
              <a:gd name="connsiteY335" fmla="*/ 3075839 h 5561888"/>
              <a:gd name="connsiteX336" fmla="*/ 390645 w 5408405"/>
              <a:gd name="connsiteY336" fmla="*/ 2998867 h 5561888"/>
              <a:gd name="connsiteX337" fmla="*/ 364975 w 5408405"/>
              <a:gd name="connsiteY337" fmla="*/ 2949884 h 5561888"/>
              <a:gd name="connsiteX338" fmla="*/ 352140 w 5408405"/>
              <a:gd name="connsiteY338" fmla="*/ 2947552 h 5561888"/>
              <a:gd name="connsiteX339" fmla="*/ 395313 w 5408405"/>
              <a:gd name="connsiteY339" fmla="*/ 2919562 h 5561888"/>
              <a:gd name="connsiteX340" fmla="*/ 433818 w 5408405"/>
              <a:gd name="connsiteY340" fmla="*/ 2882242 h 5561888"/>
              <a:gd name="connsiteX341" fmla="*/ 422150 w 5408405"/>
              <a:gd name="connsiteY341" fmla="*/ 2851919 h 5561888"/>
              <a:gd name="connsiteX342" fmla="*/ 396480 w 5408405"/>
              <a:gd name="connsiteY342" fmla="*/ 2818098 h 5561888"/>
              <a:gd name="connsiteX343" fmla="*/ 424484 w 5408405"/>
              <a:gd name="connsiteY343" fmla="*/ 2793607 h 5561888"/>
              <a:gd name="connsiteX344" fmla="*/ 436152 w 5408405"/>
              <a:gd name="connsiteY344" fmla="*/ 2784277 h 5561888"/>
              <a:gd name="connsiteX345" fmla="*/ 422150 w 5408405"/>
              <a:gd name="connsiteY345" fmla="*/ 2762118 h 5561888"/>
              <a:gd name="connsiteX346" fmla="*/ 404648 w 5408405"/>
              <a:gd name="connsiteY346" fmla="*/ 2717800 h 5561888"/>
              <a:gd name="connsiteX347" fmla="*/ 401147 w 5408405"/>
              <a:gd name="connsiteY347" fmla="*/ 2623334 h 5561888"/>
              <a:gd name="connsiteX348" fmla="*/ 403481 w 5408405"/>
              <a:gd name="connsiteY348" fmla="*/ 2597676 h 5561888"/>
              <a:gd name="connsiteX349" fmla="*/ 409315 w 5408405"/>
              <a:gd name="connsiteY349" fmla="*/ 2525369 h 5561888"/>
              <a:gd name="connsiteX350" fmla="*/ 422150 w 5408405"/>
              <a:gd name="connsiteY350" fmla="*/ 2510207 h 5561888"/>
              <a:gd name="connsiteX351" fmla="*/ 475825 w 5408405"/>
              <a:gd name="connsiteY351" fmla="*/ 2464724 h 5561888"/>
              <a:gd name="connsiteX352" fmla="*/ 485159 w 5408405"/>
              <a:gd name="connsiteY352" fmla="*/ 2448396 h 5561888"/>
              <a:gd name="connsiteX353" fmla="*/ 542334 w 5408405"/>
              <a:gd name="connsiteY353" fmla="*/ 2422738 h 5561888"/>
              <a:gd name="connsiteX354" fmla="*/ 584340 w 5408405"/>
              <a:gd name="connsiteY354" fmla="*/ 2404078 h 5561888"/>
              <a:gd name="connsiteX355" fmla="*/ 622846 w 5408405"/>
              <a:gd name="connsiteY355" fmla="*/ 2372590 h 5561888"/>
              <a:gd name="connsiteX356" fmla="*/ 641515 w 5408405"/>
              <a:gd name="connsiteY356" fmla="*/ 2345766 h 5561888"/>
              <a:gd name="connsiteX357" fmla="*/ 648517 w 5408405"/>
              <a:gd name="connsiteY357" fmla="*/ 2310778 h 5561888"/>
              <a:gd name="connsiteX358" fmla="*/ 642682 w 5408405"/>
              <a:gd name="connsiteY358" fmla="*/ 2293285 h 5561888"/>
              <a:gd name="connsiteX359" fmla="*/ 615845 w 5408405"/>
              <a:gd name="connsiteY359" fmla="*/ 2286287 h 5561888"/>
              <a:gd name="connsiteX360" fmla="*/ 597176 w 5408405"/>
              <a:gd name="connsiteY360" fmla="*/ 2248967 h 5561888"/>
              <a:gd name="connsiteX361" fmla="*/ 619346 w 5408405"/>
              <a:gd name="connsiteY361" fmla="*/ 2210481 h 5561888"/>
              <a:gd name="connsiteX362" fmla="*/ 657851 w 5408405"/>
              <a:gd name="connsiteY362" fmla="*/ 2198818 h 5561888"/>
              <a:gd name="connsiteX363" fmla="*/ 676521 w 5408405"/>
              <a:gd name="connsiteY363" fmla="*/ 2190654 h 5561888"/>
              <a:gd name="connsiteX364" fmla="*/ 668353 w 5408405"/>
              <a:gd name="connsiteY364" fmla="*/ 2153334 h 5561888"/>
              <a:gd name="connsiteX365" fmla="*/ 663685 w 5408405"/>
              <a:gd name="connsiteY365" fmla="*/ 2152168 h 5561888"/>
              <a:gd name="connsiteX366" fmla="*/ 635681 w 5408405"/>
              <a:gd name="connsiteY366" fmla="*/ 2139339 h 5561888"/>
              <a:gd name="connsiteX367" fmla="*/ 648517 w 5408405"/>
              <a:gd name="connsiteY367" fmla="*/ 2093855 h 5561888"/>
              <a:gd name="connsiteX368" fmla="*/ 683522 w 5408405"/>
              <a:gd name="connsiteY368" fmla="*/ 2071697 h 5561888"/>
              <a:gd name="connsiteX369" fmla="*/ 703358 w 5408405"/>
              <a:gd name="connsiteY369" fmla="*/ 2082193 h 5561888"/>
              <a:gd name="connsiteX370" fmla="*/ 711526 w 5408405"/>
              <a:gd name="connsiteY370" fmla="*/ 2091523 h 5561888"/>
              <a:gd name="connsiteX371" fmla="*/ 720860 w 5408405"/>
              <a:gd name="connsiteY371" fmla="*/ 2081027 h 5561888"/>
              <a:gd name="connsiteX372" fmla="*/ 723194 w 5408405"/>
              <a:gd name="connsiteY372" fmla="*/ 2055369 h 5561888"/>
              <a:gd name="connsiteX373" fmla="*/ 771034 w 5408405"/>
              <a:gd name="connsiteY373" fmla="*/ 2027379 h 5561888"/>
              <a:gd name="connsiteX374" fmla="*/ 779202 w 5408405"/>
              <a:gd name="connsiteY374" fmla="*/ 2030878 h 5561888"/>
              <a:gd name="connsiteX375" fmla="*/ 839878 w 5408405"/>
              <a:gd name="connsiteY375" fmla="*/ 2009885 h 5561888"/>
              <a:gd name="connsiteX376" fmla="*/ 872549 w 5408405"/>
              <a:gd name="connsiteY376" fmla="*/ 1988893 h 5561888"/>
              <a:gd name="connsiteX377" fmla="*/ 891219 w 5408405"/>
              <a:gd name="connsiteY377" fmla="*/ 1987727 h 5561888"/>
              <a:gd name="connsiteX378" fmla="*/ 961229 w 5408405"/>
              <a:gd name="connsiteY378" fmla="*/ 1935245 h 5561888"/>
              <a:gd name="connsiteX379" fmla="*/ 979898 w 5408405"/>
              <a:gd name="connsiteY379" fmla="*/ 1895593 h 5561888"/>
              <a:gd name="connsiteX380" fmla="*/ 1004402 w 5408405"/>
              <a:gd name="connsiteY380" fmla="*/ 1886263 h 5561888"/>
              <a:gd name="connsiteX381" fmla="*/ 1010236 w 5408405"/>
              <a:gd name="connsiteY381" fmla="*/ 1908421 h 5561888"/>
              <a:gd name="connsiteX382" fmla="*/ 1054576 w 5408405"/>
              <a:gd name="connsiteY382" fmla="*/ 1949240 h 5561888"/>
              <a:gd name="connsiteX383" fmla="*/ 1105917 w 5408405"/>
              <a:gd name="connsiteY383" fmla="*/ 1948074 h 5561888"/>
              <a:gd name="connsiteX384" fmla="*/ 1144422 w 5408405"/>
              <a:gd name="connsiteY384" fmla="*/ 1978397 h 5561888"/>
              <a:gd name="connsiteX385" fmla="*/ 1237769 w 5408405"/>
              <a:gd name="connsiteY385" fmla="*/ 2001722 h 5561888"/>
              <a:gd name="connsiteX386" fmla="*/ 1255272 w 5408405"/>
              <a:gd name="connsiteY386" fmla="*/ 1992392 h 5561888"/>
              <a:gd name="connsiteX387" fmla="*/ 1293778 w 5408405"/>
              <a:gd name="connsiteY387" fmla="*/ 2055369 h 5561888"/>
              <a:gd name="connsiteX388" fmla="*/ 1366122 w 5408405"/>
              <a:gd name="connsiteY388" fmla="*/ 2055369 h 5561888"/>
              <a:gd name="connsiteX389" fmla="*/ 1361454 w 5408405"/>
              <a:gd name="connsiteY389" fmla="*/ 2068198 h 5561888"/>
              <a:gd name="connsiteX390" fmla="*/ 1381290 w 5408405"/>
              <a:gd name="connsiteY390" fmla="*/ 2133508 h 5561888"/>
              <a:gd name="connsiteX391" fmla="*/ 1404627 w 5408405"/>
              <a:gd name="connsiteY391" fmla="*/ 2178992 h 5561888"/>
              <a:gd name="connsiteX392" fmla="*/ 1436132 w 5408405"/>
              <a:gd name="connsiteY392" fmla="*/ 2232639 h 5561888"/>
              <a:gd name="connsiteX393" fmla="*/ 1452467 w 5408405"/>
              <a:gd name="connsiteY393" fmla="*/ 2215146 h 5561888"/>
              <a:gd name="connsiteX394" fmla="*/ 1475804 w 5408405"/>
              <a:gd name="connsiteY394" fmla="*/ 2180158 h 5561888"/>
              <a:gd name="connsiteX395" fmla="*/ 1490973 w 5408405"/>
              <a:gd name="connsiteY395" fmla="*/ 2194153 h 5561888"/>
              <a:gd name="connsiteX396" fmla="*/ 1536480 w 5408405"/>
              <a:gd name="connsiteY396" fmla="*/ 2257131 h 5561888"/>
              <a:gd name="connsiteX397" fmla="*/ 1682334 w 5408405"/>
              <a:gd name="connsiteY397" fmla="*/ 2317776 h 5561888"/>
              <a:gd name="connsiteX398" fmla="*/ 1752345 w 5408405"/>
              <a:gd name="connsiteY398" fmla="*/ 2360927 h 5561888"/>
              <a:gd name="connsiteX399" fmla="*/ 1790850 w 5408405"/>
              <a:gd name="connsiteY399" fmla="*/ 2355096 h 5561888"/>
              <a:gd name="connsiteX400" fmla="*/ 1825855 w 5408405"/>
              <a:gd name="connsiteY400" fmla="*/ 2351597 h 5561888"/>
              <a:gd name="connsiteX401" fmla="*/ 1817688 w 5408405"/>
              <a:gd name="connsiteY401" fmla="*/ 2380753 h 5561888"/>
              <a:gd name="connsiteX402" fmla="*/ 1807186 w 5408405"/>
              <a:gd name="connsiteY402" fmla="*/ 2436733 h 5561888"/>
              <a:gd name="connsiteX403" fmla="*/ 1836065 w 5408405"/>
              <a:gd name="connsiteY403" fmla="*/ 2571290 h 5561888"/>
              <a:gd name="connsiteX404" fmla="*/ 1836900 w 5408405"/>
              <a:gd name="connsiteY404" fmla="*/ 2614907 h 5561888"/>
              <a:gd name="connsiteX405" fmla="*/ 2065106 w 5408405"/>
              <a:gd name="connsiteY405" fmla="*/ 2240082 h 5561888"/>
              <a:gd name="connsiteX406" fmla="*/ 2042723 w 5408405"/>
              <a:gd name="connsiteY406" fmla="*/ 2222711 h 5561888"/>
              <a:gd name="connsiteX407" fmla="*/ 2003998 w 5408405"/>
              <a:gd name="connsiteY407" fmla="*/ 2224820 h 5561888"/>
              <a:gd name="connsiteX408" fmla="*/ 1989060 w 5408405"/>
              <a:gd name="connsiteY408" fmla="*/ 2226794 h 5561888"/>
              <a:gd name="connsiteX409" fmla="*/ 1993035 w 5408405"/>
              <a:gd name="connsiteY409" fmla="*/ 2208195 h 5561888"/>
              <a:gd name="connsiteX410" fmla="*/ 1994810 w 5408405"/>
              <a:gd name="connsiteY410" fmla="*/ 2206378 h 5561888"/>
              <a:gd name="connsiteX411" fmla="*/ 1985471 w 5408405"/>
              <a:gd name="connsiteY411" fmla="*/ 2174773 h 5561888"/>
              <a:gd name="connsiteX412" fmla="*/ 1958208 w 5408405"/>
              <a:gd name="connsiteY412" fmla="*/ 2145776 h 5561888"/>
              <a:gd name="connsiteX413" fmla="*/ 1928319 w 5408405"/>
              <a:gd name="connsiteY413" fmla="*/ 2096463 h 5561888"/>
              <a:gd name="connsiteX414" fmla="*/ 1926297 w 5408405"/>
              <a:gd name="connsiteY414" fmla="*/ 2076739 h 5561888"/>
              <a:gd name="connsiteX415" fmla="*/ 1919077 w 5408405"/>
              <a:gd name="connsiteY415" fmla="*/ 2021171 h 5561888"/>
              <a:gd name="connsiteX416" fmla="*/ 1927826 w 5408405"/>
              <a:gd name="connsiteY416" fmla="*/ 2001317 h 5561888"/>
              <a:gd name="connsiteX417" fmla="*/ 1968832 w 5408405"/>
              <a:gd name="connsiteY417" fmla="*/ 1924225 h 5561888"/>
              <a:gd name="connsiteX418" fmla="*/ 1955517 w 5408405"/>
              <a:gd name="connsiteY418" fmla="*/ 1911219 h 5561888"/>
              <a:gd name="connsiteX419" fmla="*/ 1938322 w 5408405"/>
              <a:gd name="connsiteY419" fmla="*/ 1925189 h 5561888"/>
              <a:gd name="connsiteX420" fmla="*/ 1934938 w 5408405"/>
              <a:gd name="connsiteY420" fmla="*/ 1943183 h 5561888"/>
              <a:gd name="connsiteX421" fmla="*/ 1926093 w 5408405"/>
              <a:gd name="connsiteY421" fmla="*/ 1954660 h 5561888"/>
              <a:gd name="connsiteX422" fmla="*/ 1916974 w 5408405"/>
              <a:gd name="connsiteY422" fmla="*/ 1942201 h 5561888"/>
              <a:gd name="connsiteX423" fmla="*/ 1917387 w 5408405"/>
              <a:gd name="connsiteY423" fmla="*/ 1926038 h 5561888"/>
              <a:gd name="connsiteX424" fmla="*/ 1901582 w 5408405"/>
              <a:gd name="connsiteY424" fmla="*/ 1904684 h 5561888"/>
              <a:gd name="connsiteX425" fmla="*/ 1889243 w 5408405"/>
              <a:gd name="connsiteY425" fmla="*/ 1924580 h 5561888"/>
              <a:gd name="connsiteX426" fmla="*/ 1887111 w 5408405"/>
              <a:gd name="connsiteY426" fmla="*/ 1947347 h 5561888"/>
              <a:gd name="connsiteX427" fmla="*/ 1867413 w 5408405"/>
              <a:gd name="connsiteY427" fmla="*/ 1951772 h 5561888"/>
              <a:gd name="connsiteX428" fmla="*/ 1845928 w 5408405"/>
              <a:gd name="connsiteY428" fmla="*/ 1904752 h 5561888"/>
              <a:gd name="connsiteX429" fmla="*/ 1812641 w 5408405"/>
              <a:gd name="connsiteY429" fmla="*/ 1872237 h 5561888"/>
              <a:gd name="connsiteX430" fmla="*/ 1787497 w 5408405"/>
              <a:gd name="connsiteY430" fmla="*/ 1871341 h 5561888"/>
              <a:gd name="connsiteX431" fmla="*/ 1777290 w 5408405"/>
              <a:gd name="connsiteY431" fmla="*/ 1868471 h 5561888"/>
              <a:gd name="connsiteX432" fmla="*/ 1780165 w 5408405"/>
              <a:gd name="connsiteY432" fmla="*/ 1858263 h 5561888"/>
              <a:gd name="connsiteX433" fmla="*/ 1780482 w 5408405"/>
              <a:gd name="connsiteY433" fmla="*/ 1833723 h 5561888"/>
              <a:gd name="connsiteX434" fmla="*/ 1768626 w 5408405"/>
              <a:gd name="connsiteY434" fmla="*/ 1791375 h 5561888"/>
              <a:gd name="connsiteX435" fmla="*/ 1754692 w 5408405"/>
              <a:gd name="connsiteY435" fmla="*/ 1776581 h 5561888"/>
              <a:gd name="connsiteX436" fmla="*/ 1740276 w 5408405"/>
              <a:gd name="connsiteY436" fmla="*/ 1771966 h 5561888"/>
              <a:gd name="connsiteX437" fmla="*/ 1743674 w 5408405"/>
              <a:gd name="connsiteY437" fmla="*/ 1755169 h 5561888"/>
              <a:gd name="connsiteX438" fmla="*/ 1750745 w 5408405"/>
              <a:gd name="connsiteY438" fmla="*/ 1745509 h 5561888"/>
              <a:gd name="connsiteX439" fmla="*/ 1735986 w 5408405"/>
              <a:gd name="connsiteY439" fmla="*/ 1710977 h 5561888"/>
              <a:gd name="connsiteX440" fmla="*/ 1728187 w 5408405"/>
              <a:gd name="connsiteY440" fmla="*/ 1709275 h 5561888"/>
              <a:gd name="connsiteX441" fmla="*/ 1717885 w 5408405"/>
              <a:gd name="connsiteY441" fmla="*/ 1698028 h 5561888"/>
              <a:gd name="connsiteX442" fmla="*/ 1729769 w 5408405"/>
              <a:gd name="connsiteY442" fmla="*/ 1690704 h 5561888"/>
              <a:gd name="connsiteX443" fmla="*/ 1743552 w 5408405"/>
              <a:gd name="connsiteY443" fmla="*/ 1692334 h 5561888"/>
              <a:gd name="connsiteX444" fmla="*/ 1757198 w 5408405"/>
              <a:gd name="connsiteY444" fmla="*/ 1681998 h 5561888"/>
              <a:gd name="connsiteX445" fmla="*/ 1783595 w 5408405"/>
              <a:gd name="connsiteY445" fmla="*/ 1635602 h 5561888"/>
              <a:gd name="connsiteX446" fmla="*/ 1825522 w 5408405"/>
              <a:gd name="connsiteY446" fmla="*/ 1586626 h 5561888"/>
              <a:gd name="connsiteX447" fmla="*/ 1841616 w 5408405"/>
              <a:gd name="connsiteY447" fmla="*/ 1581047 h 5561888"/>
              <a:gd name="connsiteX448" fmla="*/ 1886898 w 5408405"/>
              <a:gd name="connsiteY448" fmla="*/ 1563748 h 5561888"/>
              <a:gd name="connsiteX449" fmla="*/ 1897050 w 5408405"/>
              <a:gd name="connsiteY449" fmla="*/ 1561831 h 5561888"/>
              <a:gd name="connsiteX450" fmla="*/ 1955152 w 5408405"/>
              <a:gd name="connsiteY450" fmla="*/ 1566521 h 5561888"/>
              <a:gd name="connsiteX451" fmla="*/ 2025592 w 5408405"/>
              <a:gd name="connsiteY451" fmla="*/ 1603380 h 5561888"/>
              <a:gd name="connsiteX452" fmla="*/ 2052044 w 5408405"/>
              <a:gd name="connsiteY452" fmla="*/ 1613835 h 5561888"/>
              <a:gd name="connsiteX453" fmla="*/ 2076899 w 5408405"/>
              <a:gd name="connsiteY453" fmla="*/ 1641664 h 5561888"/>
              <a:gd name="connsiteX454" fmla="*/ 2096926 w 5408405"/>
              <a:gd name="connsiteY454" fmla="*/ 1665960 h 5561888"/>
              <a:gd name="connsiteX455" fmla="*/ 2106596 w 5408405"/>
              <a:gd name="connsiteY455" fmla="*/ 1674222 h 5561888"/>
              <a:gd name="connsiteX456" fmla="*/ 2112853 w 5408405"/>
              <a:gd name="connsiteY456" fmla="*/ 1750149 h 5561888"/>
              <a:gd name="connsiteX457" fmla="*/ 2099702 w 5408405"/>
              <a:gd name="connsiteY457" fmla="*/ 1803568 h 5561888"/>
              <a:gd name="connsiteX458" fmla="*/ 2108146 w 5408405"/>
              <a:gd name="connsiteY458" fmla="*/ 1861516 h 5561888"/>
              <a:gd name="connsiteX459" fmla="*/ 2118353 w 5408405"/>
              <a:gd name="connsiteY459" fmla="*/ 1864386 h 5561888"/>
              <a:gd name="connsiteX460" fmla="*/ 2195616 w 5408405"/>
              <a:gd name="connsiteY460" fmla="*/ 1870044 h 5561888"/>
              <a:gd name="connsiteX461" fmla="*/ 2210032 w 5408405"/>
              <a:gd name="connsiteY461" fmla="*/ 1874658 h 5561888"/>
              <a:gd name="connsiteX462" fmla="*/ 2245025 w 5408405"/>
              <a:gd name="connsiteY462" fmla="*/ 1899374 h 5561888"/>
              <a:gd name="connsiteX463" fmla="*/ 2262548 w 5408405"/>
              <a:gd name="connsiteY463" fmla="*/ 1915785 h 5561888"/>
              <a:gd name="connsiteX464" fmla="*/ 3291650 w 5408405"/>
              <a:gd name="connsiteY464" fmla="*/ 225494 h 5561888"/>
              <a:gd name="connsiteX465" fmla="*/ 3646505 w 5408405"/>
              <a:gd name="connsiteY465" fmla="*/ 225494 h 5561888"/>
              <a:gd name="connsiteX466" fmla="*/ 3643558 w 5408405"/>
              <a:gd name="connsiteY466" fmla="*/ 219709 h 5561888"/>
              <a:gd name="connsiteX467" fmla="*/ 3654871 w 5408405"/>
              <a:gd name="connsiteY467" fmla="*/ 121630 h 5561888"/>
              <a:gd name="connsiteX468" fmla="*/ 3752918 w 5408405"/>
              <a:gd name="connsiteY468" fmla="*/ 98996 h 5561888"/>
              <a:gd name="connsiteX469" fmla="*/ 3771774 w 5408405"/>
              <a:gd name="connsiteY469" fmla="*/ 106540 h 5561888"/>
              <a:gd name="connsiteX470" fmla="*/ 3858507 w 5408405"/>
              <a:gd name="connsiteY470" fmla="*/ 87679 h 5561888"/>
              <a:gd name="connsiteX471" fmla="*/ 3971639 w 5408405"/>
              <a:gd name="connsiteY471" fmla="*/ 80134 h 5561888"/>
              <a:gd name="connsiteX472" fmla="*/ 4137564 w 5408405"/>
              <a:gd name="connsiteY472" fmla="*/ 72590 h 5561888"/>
              <a:gd name="connsiteX473" fmla="*/ 4216756 w 5408405"/>
              <a:gd name="connsiteY473" fmla="*/ 72590 h 5561888"/>
              <a:gd name="connsiteX474" fmla="*/ 4220527 w 5408405"/>
              <a:gd name="connsiteY474" fmla="*/ 76362 h 5561888"/>
              <a:gd name="connsiteX475" fmla="*/ 4307261 w 5408405"/>
              <a:gd name="connsiteY475" fmla="*/ 57500 h 5561888"/>
              <a:gd name="connsiteX476" fmla="*/ 4360056 w 5408405"/>
              <a:gd name="connsiteY476" fmla="*/ 12233 h 5561888"/>
              <a:gd name="connsiteX477" fmla="*/ 4427934 w 5408405"/>
              <a:gd name="connsiteY477" fmla="*/ 16005 h 5561888"/>
              <a:gd name="connsiteX478" fmla="*/ 4556150 w 5408405"/>
              <a:gd name="connsiteY478" fmla="*/ 16005 h 5561888"/>
              <a:gd name="connsiteX479" fmla="*/ 4585316 w 5408405"/>
              <a:gd name="connsiteY479" fmla="*/ 91 h 5561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</a:cxnLst>
            <a:rect l="l" t="t" r="r" b="b"/>
            <a:pathLst>
              <a:path w="5408405" h="5561888">
                <a:moveTo>
                  <a:pt x="4336617" y="2979311"/>
                </a:moveTo>
                <a:lnTo>
                  <a:pt x="4337062" y="2980996"/>
                </a:lnTo>
                <a:lnTo>
                  <a:pt x="4335592" y="2981017"/>
                </a:lnTo>
                <a:close/>
                <a:moveTo>
                  <a:pt x="1888921" y="2261506"/>
                </a:moveTo>
                <a:lnTo>
                  <a:pt x="1889365" y="2263191"/>
                </a:lnTo>
                <a:lnTo>
                  <a:pt x="1887895" y="2263212"/>
                </a:lnTo>
                <a:close/>
                <a:moveTo>
                  <a:pt x="3291650" y="1876983"/>
                </a:moveTo>
                <a:lnTo>
                  <a:pt x="2384076" y="3290419"/>
                </a:lnTo>
                <a:lnTo>
                  <a:pt x="3291650" y="3290419"/>
                </a:lnTo>
                <a:close/>
                <a:moveTo>
                  <a:pt x="4585316" y="91"/>
                </a:moveTo>
                <a:cubicBezTo>
                  <a:pt x="4588911" y="444"/>
                  <a:pt x="4592917" y="1859"/>
                  <a:pt x="4597631" y="4688"/>
                </a:cubicBezTo>
                <a:cubicBezTo>
                  <a:pt x="4605173" y="46184"/>
                  <a:pt x="4590089" y="87679"/>
                  <a:pt x="4597631" y="129174"/>
                </a:cubicBezTo>
                <a:cubicBezTo>
                  <a:pt x="4642884" y="140491"/>
                  <a:pt x="4680594" y="121630"/>
                  <a:pt x="4718305" y="117857"/>
                </a:cubicBezTo>
                <a:cubicBezTo>
                  <a:pt x="4759786" y="110313"/>
                  <a:pt x="4797496" y="98996"/>
                  <a:pt x="4838978" y="114085"/>
                </a:cubicBezTo>
                <a:cubicBezTo>
                  <a:pt x="4831436" y="132947"/>
                  <a:pt x="4827665" y="148036"/>
                  <a:pt x="4827665" y="166897"/>
                </a:cubicBezTo>
                <a:cubicBezTo>
                  <a:pt x="4823894" y="215937"/>
                  <a:pt x="4842749" y="238571"/>
                  <a:pt x="4895544" y="246116"/>
                </a:cubicBezTo>
                <a:cubicBezTo>
                  <a:pt x="4940796" y="249888"/>
                  <a:pt x="4978506" y="234799"/>
                  <a:pt x="5001133" y="193303"/>
                </a:cubicBezTo>
                <a:cubicBezTo>
                  <a:pt x="5016217" y="163125"/>
                  <a:pt x="5031301" y="140491"/>
                  <a:pt x="5061469" y="129174"/>
                </a:cubicBezTo>
                <a:cubicBezTo>
                  <a:pt x="5076554" y="121630"/>
                  <a:pt x="5091638" y="121630"/>
                  <a:pt x="5102951" y="136719"/>
                </a:cubicBezTo>
                <a:cubicBezTo>
                  <a:pt x="5114264" y="144263"/>
                  <a:pt x="5114264" y="159353"/>
                  <a:pt x="5110493" y="170670"/>
                </a:cubicBezTo>
                <a:cubicBezTo>
                  <a:pt x="5099180" y="200848"/>
                  <a:pt x="5080324" y="227254"/>
                  <a:pt x="5053927" y="246116"/>
                </a:cubicBezTo>
                <a:cubicBezTo>
                  <a:pt x="5027530" y="264977"/>
                  <a:pt x="5001133" y="280066"/>
                  <a:pt x="4978506" y="295156"/>
                </a:cubicBezTo>
                <a:cubicBezTo>
                  <a:pt x="4955880" y="310245"/>
                  <a:pt x="4952109" y="325334"/>
                  <a:pt x="4959651" y="347968"/>
                </a:cubicBezTo>
                <a:cubicBezTo>
                  <a:pt x="4982278" y="404552"/>
                  <a:pt x="5001133" y="457365"/>
                  <a:pt x="5019988" y="517722"/>
                </a:cubicBezTo>
                <a:cubicBezTo>
                  <a:pt x="5027530" y="544128"/>
                  <a:pt x="5042614" y="559217"/>
                  <a:pt x="5072782" y="562989"/>
                </a:cubicBezTo>
                <a:cubicBezTo>
                  <a:pt x="5099180" y="566762"/>
                  <a:pt x="5125577" y="566762"/>
                  <a:pt x="5151974" y="574306"/>
                </a:cubicBezTo>
                <a:cubicBezTo>
                  <a:pt x="5185914" y="585623"/>
                  <a:pt x="5193456" y="608257"/>
                  <a:pt x="5174600" y="638435"/>
                </a:cubicBezTo>
                <a:cubicBezTo>
                  <a:pt x="5159516" y="661069"/>
                  <a:pt x="5140661" y="683703"/>
                  <a:pt x="5125577" y="706337"/>
                </a:cubicBezTo>
                <a:cubicBezTo>
                  <a:pt x="5095409" y="747832"/>
                  <a:pt x="5076554" y="793100"/>
                  <a:pt x="5084096" y="845912"/>
                </a:cubicBezTo>
                <a:cubicBezTo>
                  <a:pt x="5087867" y="891180"/>
                  <a:pt x="5102951" y="913814"/>
                  <a:pt x="5148203" y="921358"/>
                </a:cubicBezTo>
                <a:cubicBezTo>
                  <a:pt x="5178372" y="928903"/>
                  <a:pt x="5204769" y="936447"/>
                  <a:pt x="5231166" y="943992"/>
                </a:cubicBezTo>
                <a:cubicBezTo>
                  <a:pt x="5227395" y="981715"/>
                  <a:pt x="5182143" y="977943"/>
                  <a:pt x="5174600" y="1008121"/>
                </a:cubicBezTo>
                <a:cubicBezTo>
                  <a:pt x="5223624" y="1011893"/>
                  <a:pt x="5227395" y="1011893"/>
                  <a:pt x="5261334" y="1045844"/>
                </a:cubicBezTo>
                <a:cubicBezTo>
                  <a:pt x="5299045" y="1083567"/>
                  <a:pt x="5336755" y="1106201"/>
                  <a:pt x="5393321" y="1102429"/>
                </a:cubicBezTo>
                <a:cubicBezTo>
                  <a:pt x="5400863" y="1098656"/>
                  <a:pt x="5404634" y="1102429"/>
                  <a:pt x="5408405" y="1109973"/>
                </a:cubicBezTo>
                <a:cubicBezTo>
                  <a:pt x="5393321" y="1128835"/>
                  <a:pt x="5366924" y="1125063"/>
                  <a:pt x="5351839" y="1140152"/>
                </a:cubicBezTo>
                <a:cubicBezTo>
                  <a:pt x="5351839" y="1143924"/>
                  <a:pt x="5351839" y="1147696"/>
                  <a:pt x="5351839" y="1155241"/>
                </a:cubicBezTo>
                <a:cubicBezTo>
                  <a:pt x="5355610" y="1234459"/>
                  <a:pt x="5370695" y="1317450"/>
                  <a:pt x="5325442" y="1396668"/>
                </a:cubicBezTo>
                <a:cubicBezTo>
                  <a:pt x="5314129" y="1415530"/>
                  <a:pt x="5321671" y="1434391"/>
                  <a:pt x="5332984" y="1453253"/>
                </a:cubicBezTo>
                <a:cubicBezTo>
                  <a:pt x="5340526" y="1468342"/>
                  <a:pt x="5340526" y="1487203"/>
                  <a:pt x="5317900" y="1494748"/>
                </a:cubicBezTo>
                <a:cubicBezTo>
                  <a:pt x="5302816" y="1502293"/>
                  <a:pt x="5295274" y="1513609"/>
                  <a:pt x="5272648" y="1494748"/>
                </a:cubicBezTo>
                <a:cubicBezTo>
                  <a:pt x="5246250" y="1468342"/>
                  <a:pt x="5219853" y="1475886"/>
                  <a:pt x="5204769" y="1509837"/>
                </a:cubicBezTo>
                <a:cubicBezTo>
                  <a:pt x="5197227" y="1528699"/>
                  <a:pt x="5193456" y="1547560"/>
                  <a:pt x="5185914" y="1566422"/>
                </a:cubicBezTo>
                <a:cubicBezTo>
                  <a:pt x="5167058" y="1626779"/>
                  <a:pt x="5121806" y="1672046"/>
                  <a:pt x="5076554" y="1713542"/>
                </a:cubicBezTo>
                <a:cubicBezTo>
                  <a:pt x="5072782" y="1721086"/>
                  <a:pt x="5057698" y="1724859"/>
                  <a:pt x="5050156" y="1721086"/>
                </a:cubicBezTo>
                <a:cubicBezTo>
                  <a:pt x="5001133" y="1717314"/>
                  <a:pt x="4948338" y="1739948"/>
                  <a:pt x="4899314" y="1721086"/>
                </a:cubicBezTo>
                <a:cubicBezTo>
                  <a:pt x="4891772" y="1770126"/>
                  <a:pt x="4937025" y="1796532"/>
                  <a:pt x="4929483" y="1845572"/>
                </a:cubicBezTo>
                <a:cubicBezTo>
                  <a:pt x="4895544" y="1819166"/>
                  <a:pt x="4869146" y="1800305"/>
                  <a:pt x="4842749" y="1777671"/>
                </a:cubicBezTo>
                <a:cubicBezTo>
                  <a:pt x="4801268" y="1743720"/>
                  <a:pt x="4759786" y="1721086"/>
                  <a:pt x="4706992" y="1743720"/>
                </a:cubicBezTo>
                <a:cubicBezTo>
                  <a:pt x="4657968" y="1762582"/>
                  <a:pt x="4650426" y="1807849"/>
                  <a:pt x="4642884" y="1853117"/>
                </a:cubicBezTo>
                <a:cubicBezTo>
                  <a:pt x="4631571" y="1932335"/>
                  <a:pt x="4620258" y="1939880"/>
                  <a:pt x="4548608" y="1909701"/>
                </a:cubicBezTo>
                <a:cubicBezTo>
                  <a:pt x="4514668" y="1894612"/>
                  <a:pt x="4514668" y="1894612"/>
                  <a:pt x="4484500" y="1932335"/>
                </a:cubicBezTo>
                <a:cubicBezTo>
                  <a:pt x="4458103" y="1970058"/>
                  <a:pt x="4431706" y="2007781"/>
                  <a:pt x="4378911" y="1996464"/>
                </a:cubicBezTo>
                <a:cubicBezTo>
                  <a:pt x="4352514" y="1988920"/>
                  <a:pt x="4348743" y="2007781"/>
                  <a:pt x="4344972" y="2026643"/>
                </a:cubicBezTo>
                <a:cubicBezTo>
                  <a:pt x="4337430" y="2060594"/>
                  <a:pt x="4348743" y="2090772"/>
                  <a:pt x="4360056" y="2120951"/>
                </a:cubicBezTo>
                <a:cubicBezTo>
                  <a:pt x="4378911" y="2166218"/>
                  <a:pt x="4378911" y="2207714"/>
                  <a:pt x="4356285" y="2249209"/>
                </a:cubicBezTo>
                <a:cubicBezTo>
                  <a:pt x="4341201" y="2249209"/>
                  <a:pt x="4326116" y="2249209"/>
                  <a:pt x="4311032" y="2249209"/>
                </a:cubicBezTo>
                <a:cubicBezTo>
                  <a:pt x="4307261" y="2222803"/>
                  <a:pt x="4307261" y="2196397"/>
                  <a:pt x="4311032" y="2166218"/>
                </a:cubicBezTo>
                <a:cubicBezTo>
                  <a:pt x="4311032" y="2143584"/>
                  <a:pt x="4314803" y="2120951"/>
                  <a:pt x="4307261" y="2102089"/>
                </a:cubicBezTo>
                <a:lnTo>
                  <a:pt x="4293453" y="2062720"/>
                </a:lnTo>
                <a:lnTo>
                  <a:pt x="4293453" y="2298718"/>
                </a:lnTo>
                <a:lnTo>
                  <a:pt x="4314960" y="2298021"/>
                </a:lnTo>
                <a:cubicBezTo>
                  <a:pt x="4322792" y="2296057"/>
                  <a:pt x="4329622" y="2291487"/>
                  <a:pt x="4334595" y="2281553"/>
                </a:cubicBezTo>
                <a:cubicBezTo>
                  <a:pt x="4336947" y="2277935"/>
                  <a:pt x="4341142" y="2278483"/>
                  <a:pt x="4344746" y="2279636"/>
                </a:cubicBezTo>
                <a:cubicBezTo>
                  <a:pt x="4363357" y="2284799"/>
                  <a:pt x="4383687" y="2283359"/>
                  <a:pt x="4402848" y="2284326"/>
                </a:cubicBezTo>
                <a:cubicBezTo>
                  <a:pt x="4432188" y="2285770"/>
                  <a:pt x="4457429" y="2295043"/>
                  <a:pt x="4473289" y="2321185"/>
                </a:cubicBezTo>
                <a:cubicBezTo>
                  <a:pt x="4479987" y="2331278"/>
                  <a:pt x="4490166" y="2331754"/>
                  <a:pt x="4499740" y="2331640"/>
                </a:cubicBezTo>
                <a:cubicBezTo>
                  <a:pt x="4521886" y="2331973"/>
                  <a:pt x="4527347" y="2338490"/>
                  <a:pt x="4524595" y="2359469"/>
                </a:cubicBezTo>
                <a:cubicBezTo>
                  <a:pt x="4520661" y="2381658"/>
                  <a:pt x="4520661" y="2381658"/>
                  <a:pt x="4544622" y="2383765"/>
                </a:cubicBezTo>
                <a:cubicBezTo>
                  <a:pt x="4550014" y="2384299"/>
                  <a:pt x="4554210" y="2384847"/>
                  <a:pt x="4554292" y="2392027"/>
                </a:cubicBezTo>
                <a:cubicBezTo>
                  <a:pt x="4556382" y="2417735"/>
                  <a:pt x="4559656" y="2442232"/>
                  <a:pt x="4560549" y="2467954"/>
                </a:cubicBezTo>
                <a:cubicBezTo>
                  <a:pt x="4561966" y="2487088"/>
                  <a:pt x="4557385" y="2505096"/>
                  <a:pt x="4547398" y="2521373"/>
                </a:cubicBezTo>
                <a:cubicBezTo>
                  <a:pt x="4541538" y="2532216"/>
                  <a:pt x="4547356" y="2569847"/>
                  <a:pt x="4555843" y="2579321"/>
                </a:cubicBezTo>
                <a:cubicBezTo>
                  <a:pt x="4558869" y="2582277"/>
                  <a:pt x="4561290" y="2584642"/>
                  <a:pt x="4566049" y="2582191"/>
                </a:cubicBezTo>
                <a:cubicBezTo>
                  <a:pt x="4592858" y="2571696"/>
                  <a:pt x="4618072" y="2578576"/>
                  <a:pt x="4643312" y="2587849"/>
                </a:cubicBezTo>
                <a:cubicBezTo>
                  <a:pt x="4648718" y="2589579"/>
                  <a:pt x="4652928" y="2591324"/>
                  <a:pt x="4657728" y="2592463"/>
                </a:cubicBezTo>
                <a:cubicBezTo>
                  <a:pt x="4673327" y="2595867"/>
                  <a:pt x="4684757" y="2601116"/>
                  <a:pt x="4692721" y="2617179"/>
                </a:cubicBezTo>
                <a:cubicBezTo>
                  <a:pt x="4700685" y="2633242"/>
                  <a:pt x="4719296" y="2638404"/>
                  <a:pt x="4736105" y="2642990"/>
                </a:cubicBezTo>
                <a:cubicBezTo>
                  <a:pt x="4743918" y="2645889"/>
                  <a:pt x="4748732" y="2648225"/>
                  <a:pt x="4750038" y="2657785"/>
                </a:cubicBezTo>
                <a:cubicBezTo>
                  <a:pt x="4756475" y="2697205"/>
                  <a:pt x="4769473" y="2734751"/>
                  <a:pt x="4796763" y="2766142"/>
                </a:cubicBezTo>
                <a:cubicBezTo>
                  <a:pt x="4800408" y="2770886"/>
                  <a:pt x="4801041" y="2773870"/>
                  <a:pt x="4795690" y="2776927"/>
                </a:cubicBezTo>
                <a:cubicBezTo>
                  <a:pt x="4775497" y="2790334"/>
                  <a:pt x="4773928" y="2810101"/>
                  <a:pt x="4777160" y="2831008"/>
                </a:cubicBezTo>
                <a:cubicBezTo>
                  <a:pt x="4778467" y="2840567"/>
                  <a:pt x="4777944" y="2847156"/>
                  <a:pt x="4766623" y="2851481"/>
                </a:cubicBezTo>
                <a:cubicBezTo>
                  <a:pt x="4751713" y="2855849"/>
                  <a:pt x="4747682" y="2869661"/>
                  <a:pt x="4746650" y="2884036"/>
                </a:cubicBezTo>
                <a:cubicBezTo>
                  <a:pt x="4745591" y="2896018"/>
                  <a:pt x="4745742" y="2909181"/>
                  <a:pt x="4744682" y="2921163"/>
                </a:cubicBezTo>
                <a:cubicBezTo>
                  <a:pt x="4743850" y="2926858"/>
                  <a:pt x="4742106" y="2931367"/>
                  <a:pt x="4739063" y="2933424"/>
                </a:cubicBezTo>
                <a:cubicBezTo>
                  <a:pt x="4736020" y="2935480"/>
                  <a:pt x="4731677" y="2935083"/>
                  <a:pt x="4725645" y="2930966"/>
                </a:cubicBezTo>
                <a:cubicBezTo>
                  <a:pt x="4723224" y="2928601"/>
                  <a:pt x="4720212" y="2926842"/>
                  <a:pt x="4716608" y="2925688"/>
                </a:cubicBezTo>
                <a:cubicBezTo>
                  <a:pt x="4712399" y="2923943"/>
                  <a:pt x="4707557" y="2919214"/>
                  <a:pt x="4702811" y="2922861"/>
                </a:cubicBezTo>
                <a:cubicBezTo>
                  <a:pt x="4699262" y="2926494"/>
                  <a:pt x="4699922" y="2931872"/>
                  <a:pt x="4700569" y="2936054"/>
                </a:cubicBezTo>
                <a:cubicBezTo>
                  <a:pt x="4701985" y="2955187"/>
                  <a:pt x="4697831" y="2958229"/>
                  <a:pt x="4679798" y="2951264"/>
                </a:cubicBezTo>
                <a:cubicBezTo>
                  <a:pt x="4675589" y="2949519"/>
                  <a:pt x="4672577" y="2947759"/>
                  <a:pt x="4668381" y="2947211"/>
                </a:cubicBezTo>
                <a:cubicBezTo>
                  <a:pt x="4662384" y="2946086"/>
                  <a:pt x="4656992" y="2945552"/>
                  <a:pt x="4653498" y="2953973"/>
                </a:cubicBezTo>
                <a:cubicBezTo>
                  <a:pt x="4651200" y="2962378"/>
                  <a:pt x="4653621" y="2964743"/>
                  <a:pt x="4659646" y="2968262"/>
                </a:cubicBezTo>
                <a:lnTo>
                  <a:pt x="4669796" y="2976183"/>
                </a:lnTo>
                <a:lnTo>
                  <a:pt x="4576498" y="2977532"/>
                </a:lnTo>
                <a:lnTo>
                  <a:pt x="4575299" y="2971067"/>
                </a:lnTo>
                <a:cubicBezTo>
                  <a:pt x="4571035" y="2964535"/>
                  <a:pt x="4565629" y="2962805"/>
                  <a:pt x="4558476" y="2965284"/>
                </a:cubicBezTo>
                <a:cubicBezTo>
                  <a:pt x="4553112" y="2967144"/>
                  <a:pt x="4548352" y="2969594"/>
                  <a:pt x="4542988" y="2971454"/>
                </a:cubicBezTo>
                <a:cubicBezTo>
                  <a:pt x="4534047" y="2974553"/>
                  <a:pt x="4527444" y="2972837"/>
                  <a:pt x="4521364" y="2964532"/>
                </a:cubicBezTo>
                <a:cubicBezTo>
                  <a:pt x="4503125" y="2939616"/>
                  <a:pt x="4480305" y="2932707"/>
                  <a:pt x="4451694" y="2942625"/>
                </a:cubicBezTo>
                <a:cubicBezTo>
                  <a:pt x="4446921" y="2943879"/>
                  <a:pt x="4441020" y="2951131"/>
                  <a:pt x="4436756" y="2944599"/>
                </a:cubicBezTo>
                <a:cubicBezTo>
                  <a:pt x="4431900" y="2938673"/>
                  <a:pt x="4436013" y="2932041"/>
                  <a:pt x="4440731" y="2926000"/>
                </a:cubicBezTo>
                <a:cubicBezTo>
                  <a:pt x="4441323" y="2925394"/>
                  <a:pt x="4441914" y="2924789"/>
                  <a:pt x="4442506" y="2924183"/>
                </a:cubicBezTo>
                <a:cubicBezTo>
                  <a:pt x="4454281" y="2907286"/>
                  <a:pt x="4451764" y="2896544"/>
                  <a:pt x="4433167" y="2892578"/>
                </a:cubicBezTo>
                <a:cubicBezTo>
                  <a:pt x="4415766" y="2888597"/>
                  <a:pt x="4409068" y="2878504"/>
                  <a:pt x="4405904" y="2863581"/>
                </a:cubicBezTo>
                <a:cubicBezTo>
                  <a:pt x="4401489" y="2843885"/>
                  <a:pt x="4394695" y="2825415"/>
                  <a:pt x="4376015" y="2814268"/>
                </a:cubicBezTo>
                <a:cubicBezTo>
                  <a:pt x="4367583" y="2809582"/>
                  <a:pt x="4371063" y="2799965"/>
                  <a:pt x="4373993" y="2794544"/>
                </a:cubicBezTo>
                <a:cubicBezTo>
                  <a:pt x="4383925" y="2773480"/>
                  <a:pt x="4380734" y="2756163"/>
                  <a:pt x="4366773" y="2738976"/>
                </a:cubicBezTo>
                <a:cubicBezTo>
                  <a:pt x="4358272" y="2728305"/>
                  <a:pt x="4360006" y="2722899"/>
                  <a:pt x="4375522" y="2719122"/>
                </a:cubicBezTo>
                <a:cubicBezTo>
                  <a:pt x="4408342" y="2710949"/>
                  <a:pt x="4428838" y="2671805"/>
                  <a:pt x="4416528" y="2642030"/>
                </a:cubicBezTo>
                <a:cubicBezTo>
                  <a:pt x="4414066" y="2636075"/>
                  <a:pt x="4410985" y="2628333"/>
                  <a:pt x="4403213" y="2629024"/>
                </a:cubicBezTo>
                <a:cubicBezTo>
                  <a:pt x="4395441" y="2629716"/>
                  <a:pt x="4387711" y="2633997"/>
                  <a:pt x="4386019" y="2642994"/>
                </a:cubicBezTo>
                <a:cubicBezTo>
                  <a:pt x="4384285" y="2648401"/>
                  <a:pt x="4383763" y="2654990"/>
                  <a:pt x="4382635" y="2660988"/>
                </a:cubicBezTo>
                <a:cubicBezTo>
                  <a:pt x="4382112" y="2667577"/>
                  <a:pt x="4380379" y="2672984"/>
                  <a:pt x="4373789" y="2672465"/>
                </a:cubicBezTo>
                <a:cubicBezTo>
                  <a:pt x="4366004" y="2671959"/>
                  <a:pt x="4364739" y="2665990"/>
                  <a:pt x="4364670" y="2660006"/>
                </a:cubicBezTo>
                <a:cubicBezTo>
                  <a:pt x="4364010" y="2654628"/>
                  <a:pt x="4365138" y="2648630"/>
                  <a:pt x="4365083" y="2643843"/>
                </a:cubicBezTo>
                <a:cubicBezTo>
                  <a:pt x="4364960" y="2633073"/>
                  <a:pt x="4360654" y="2622951"/>
                  <a:pt x="4349279" y="2622489"/>
                </a:cubicBezTo>
                <a:cubicBezTo>
                  <a:pt x="4339705" y="2622603"/>
                  <a:pt x="4338040" y="2633994"/>
                  <a:pt x="4336940" y="2642385"/>
                </a:cubicBezTo>
                <a:cubicBezTo>
                  <a:pt x="4335825" y="2649580"/>
                  <a:pt x="4338315" y="2657928"/>
                  <a:pt x="4334807" y="2665152"/>
                </a:cubicBezTo>
                <a:cubicBezTo>
                  <a:pt x="4330144" y="2675979"/>
                  <a:pt x="4324201" y="2679641"/>
                  <a:pt x="4315109" y="2669577"/>
                </a:cubicBezTo>
                <a:cubicBezTo>
                  <a:pt x="4302386" y="2655965"/>
                  <a:pt x="4296815" y="2639874"/>
                  <a:pt x="4293624" y="2622557"/>
                </a:cubicBezTo>
                <a:lnTo>
                  <a:pt x="4293453" y="2622155"/>
                </a:lnTo>
                <a:lnTo>
                  <a:pt x="4293453" y="3290419"/>
                </a:lnTo>
                <a:lnTo>
                  <a:pt x="4819151" y="3290419"/>
                </a:lnTo>
                <a:lnTo>
                  <a:pt x="4618033" y="3783581"/>
                </a:lnTo>
                <a:lnTo>
                  <a:pt x="4631595" y="3794382"/>
                </a:lnTo>
                <a:cubicBezTo>
                  <a:pt x="4641671" y="3804889"/>
                  <a:pt x="4649347" y="3817308"/>
                  <a:pt x="4653185" y="3834503"/>
                </a:cubicBezTo>
                <a:cubicBezTo>
                  <a:pt x="4657023" y="3872714"/>
                  <a:pt x="4676215" y="3907103"/>
                  <a:pt x="4695406" y="3937672"/>
                </a:cubicBezTo>
                <a:cubicBezTo>
                  <a:pt x="4714598" y="3972062"/>
                  <a:pt x="4729951" y="4006451"/>
                  <a:pt x="4749142" y="4037020"/>
                </a:cubicBezTo>
                <a:cubicBezTo>
                  <a:pt x="4764495" y="4071410"/>
                  <a:pt x="4795201" y="4101979"/>
                  <a:pt x="4833584" y="4121084"/>
                </a:cubicBezTo>
                <a:cubicBezTo>
                  <a:pt x="4833584" y="4166937"/>
                  <a:pt x="4833584" y="4212790"/>
                  <a:pt x="4833584" y="4258643"/>
                </a:cubicBezTo>
                <a:cubicBezTo>
                  <a:pt x="4810554" y="4270106"/>
                  <a:pt x="4799040" y="4285390"/>
                  <a:pt x="4787525" y="4312138"/>
                </a:cubicBezTo>
                <a:cubicBezTo>
                  <a:pt x="4772172" y="4342706"/>
                  <a:pt x="4737627" y="4365633"/>
                  <a:pt x="4703083" y="4365633"/>
                </a:cubicBezTo>
                <a:cubicBezTo>
                  <a:pt x="4668538" y="4365633"/>
                  <a:pt x="4637832" y="4373275"/>
                  <a:pt x="4603288" y="4380917"/>
                </a:cubicBezTo>
                <a:cubicBezTo>
                  <a:pt x="4553390" y="4361812"/>
                  <a:pt x="4507331" y="4335064"/>
                  <a:pt x="4488139" y="4273927"/>
                </a:cubicBezTo>
                <a:cubicBezTo>
                  <a:pt x="4484301" y="4262464"/>
                  <a:pt x="4461271" y="4254822"/>
                  <a:pt x="4465110" y="4231895"/>
                </a:cubicBezTo>
                <a:cubicBezTo>
                  <a:pt x="4467989" y="4216611"/>
                  <a:pt x="4467269" y="4203954"/>
                  <a:pt x="4463971" y="4193386"/>
                </a:cubicBezTo>
                <a:lnTo>
                  <a:pt x="4454229" y="4178157"/>
                </a:lnTo>
                <a:lnTo>
                  <a:pt x="4293453" y="4178157"/>
                </a:lnTo>
                <a:lnTo>
                  <a:pt x="4293453" y="4857600"/>
                </a:lnTo>
                <a:lnTo>
                  <a:pt x="3291650" y="4857600"/>
                </a:lnTo>
                <a:lnTo>
                  <a:pt x="3291650" y="4178157"/>
                </a:lnTo>
                <a:lnTo>
                  <a:pt x="2897583" y="4178157"/>
                </a:lnTo>
                <a:lnTo>
                  <a:pt x="2899933" y="4187858"/>
                </a:lnTo>
                <a:cubicBezTo>
                  <a:pt x="2898048" y="4212333"/>
                  <a:pt x="2905588" y="4223629"/>
                  <a:pt x="2922554" y="4233043"/>
                </a:cubicBezTo>
                <a:cubicBezTo>
                  <a:pt x="2922554" y="4240574"/>
                  <a:pt x="2922554" y="4248104"/>
                  <a:pt x="2922554" y="4255635"/>
                </a:cubicBezTo>
                <a:cubicBezTo>
                  <a:pt x="2903703" y="4266931"/>
                  <a:pt x="2898048" y="4287641"/>
                  <a:pt x="2903703" y="4306468"/>
                </a:cubicBezTo>
                <a:cubicBezTo>
                  <a:pt x="2913129" y="4340356"/>
                  <a:pt x="2901818" y="4366714"/>
                  <a:pt x="2877312" y="4389306"/>
                </a:cubicBezTo>
                <a:cubicBezTo>
                  <a:pt x="2867886" y="4398720"/>
                  <a:pt x="2858461" y="4406250"/>
                  <a:pt x="2854690" y="4419429"/>
                </a:cubicBezTo>
                <a:cubicBezTo>
                  <a:pt x="2850920" y="4440139"/>
                  <a:pt x="2839610" y="4451435"/>
                  <a:pt x="2818873" y="4449552"/>
                </a:cubicBezTo>
                <a:cubicBezTo>
                  <a:pt x="2803793" y="4449552"/>
                  <a:pt x="2792482" y="4458966"/>
                  <a:pt x="2786827" y="4466497"/>
                </a:cubicBezTo>
                <a:cubicBezTo>
                  <a:pt x="2754780" y="4511681"/>
                  <a:pt x="2707652" y="4487206"/>
                  <a:pt x="2668065" y="4492854"/>
                </a:cubicBezTo>
                <a:cubicBezTo>
                  <a:pt x="2651099" y="4494737"/>
                  <a:pt x="2615282" y="4504150"/>
                  <a:pt x="2607742" y="4490972"/>
                </a:cubicBezTo>
                <a:cubicBezTo>
                  <a:pt x="2585120" y="4453318"/>
                  <a:pt x="2526682" y="4468379"/>
                  <a:pt x="2513486" y="4417547"/>
                </a:cubicBezTo>
                <a:cubicBezTo>
                  <a:pt x="2509716" y="4402485"/>
                  <a:pt x="2483325" y="4393072"/>
                  <a:pt x="2507831" y="4372362"/>
                </a:cubicBezTo>
                <a:cubicBezTo>
                  <a:pt x="2515371" y="4366714"/>
                  <a:pt x="2513486" y="4355418"/>
                  <a:pt x="2505946" y="4353535"/>
                </a:cubicBezTo>
                <a:cubicBezTo>
                  <a:pt x="2475784" y="4342239"/>
                  <a:pt x="2477669" y="4325295"/>
                  <a:pt x="2496520" y="4302702"/>
                </a:cubicBezTo>
                <a:cubicBezTo>
                  <a:pt x="2502176" y="4295172"/>
                  <a:pt x="2494635" y="4285758"/>
                  <a:pt x="2490865" y="4278227"/>
                </a:cubicBezTo>
                <a:cubicBezTo>
                  <a:pt x="2483325" y="4266931"/>
                  <a:pt x="2481440" y="4255635"/>
                  <a:pt x="2492750" y="4246222"/>
                </a:cubicBezTo>
                <a:cubicBezTo>
                  <a:pt x="2504061" y="4236808"/>
                  <a:pt x="2502176" y="4225512"/>
                  <a:pt x="2505946" y="4214216"/>
                </a:cubicBezTo>
                <a:lnTo>
                  <a:pt x="2519389" y="4178157"/>
                </a:lnTo>
                <a:lnTo>
                  <a:pt x="1895054" y="4178157"/>
                </a:lnTo>
                <a:lnTo>
                  <a:pt x="1904034" y="4212935"/>
                </a:lnTo>
                <a:cubicBezTo>
                  <a:pt x="1907534" y="4221099"/>
                  <a:pt x="1911035" y="4228097"/>
                  <a:pt x="1913368" y="4235094"/>
                </a:cubicBezTo>
                <a:cubicBezTo>
                  <a:pt x="1933204" y="4278245"/>
                  <a:pt x="1933204" y="4278245"/>
                  <a:pt x="1897032" y="4308568"/>
                </a:cubicBezTo>
                <a:cubicBezTo>
                  <a:pt x="1890031" y="4314399"/>
                  <a:pt x="1885364" y="4320230"/>
                  <a:pt x="1887698" y="4331893"/>
                </a:cubicBezTo>
                <a:cubicBezTo>
                  <a:pt x="1890031" y="4344722"/>
                  <a:pt x="1888865" y="4358717"/>
                  <a:pt x="1886531" y="4371546"/>
                </a:cubicBezTo>
                <a:cubicBezTo>
                  <a:pt x="1881864" y="4391372"/>
                  <a:pt x="1892365" y="4399536"/>
                  <a:pt x="1908701" y="4405367"/>
                </a:cubicBezTo>
                <a:cubicBezTo>
                  <a:pt x="1961209" y="4424027"/>
                  <a:pt x="1961209" y="4424027"/>
                  <a:pt x="1929704" y="4469511"/>
                </a:cubicBezTo>
                <a:cubicBezTo>
                  <a:pt x="1923870" y="4477674"/>
                  <a:pt x="1921536" y="4487004"/>
                  <a:pt x="1921536" y="4497501"/>
                </a:cubicBezTo>
                <a:cubicBezTo>
                  <a:pt x="1921536" y="4505664"/>
                  <a:pt x="1929704" y="4516161"/>
                  <a:pt x="1915702" y="4519659"/>
                </a:cubicBezTo>
                <a:cubicBezTo>
                  <a:pt x="1904034" y="4523158"/>
                  <a:pt x="1892365" y="4521992"/>
                  <a:pt x="1885364" y="4510329"/>
                </a:cubicBezTo>
                <a:cubicBezTo>
                  <a:pt x="1878363" y="4500999"/>
                  <a:pt x="1873696" y="4490503"/>
                  <a:pt x="1867862" y="4478841"/>
                </a:cubicBezTo>
                <a:cubicBezTo>
                  <a:pt x="1839857" y="4489337"/>
                  <a:pt x="1827022" y="4513828"/>
                  <a:pt x="1816521" y="4538320"/>
                </a:cubicBezTo>
                <a:cubicBezTo>
                  <a:pt x="1810687" y="4549982"/>
                  <a:pt x="1821188" y="4560478"/>
                  <a:pt x="1828189" y="4568642"/>
                </a:cubicBezTo>
                <a:cubicBezTo>
                  <a:pt x="1838691" y="4579138"/>
                  <a:pt x="1849192" y="4588468"/>
                  <a:pt x="1858527" y="4597798"/>
                </a:cubicBezTo>
                <a:cubicBezTo>
                  <a:pt x="1869028" y="4608295"/>
                  <a:pt x="1876029" y="4619957"/>
                  <a:pt x="1877196" y="4635118"/>
                </a:cubicBezTo>
                <a:cubicBezTo>
                  <a:pt x="1878363" y="4654945"/>
                  <a:pt x="1872529" y="4659610"/>
                  <a:pt x="1852693" y="4654945"/>
                </a:cubicBezTo>
                <a:cubicBezTo>
                  <a:pt x="1828189" y="4647947"/>
                  <a:pt x="1822355" y="4654945"/>
                  <a:pt x="1825855" y="4679436"/>
                </a:cubicBezTo>
                <a:cubicBezTo>
                  <a:pt x="1827022" y="4693431"/>
                  <a:pt x="1838691" y="4710925"/>
                  <a:pt x="1822355" y="4720255"/>
                </a:cubicBezTo>
                <a:cubicBezTo>
                  <a:pt x="1807186" y="4728419"/>
                  <a:pt x="1793184" y="4713257"/>
                  <a:pt x="1781516" y="4703927"/>
                </a:cubicBezTo>
                <a:cubicBezTo>
                  <a:pt x="1776848" y="4699262"/>
                  <a:pt x="1772181" y="4695764"/>
                  <a:pt x="1766347" y="4692265"/>
                </a:cubicBezTo>
                <a:cubicBezTo>
                  <a:pt x="1759346" y="4687600"/>
                  <a:pt x="1750011" y="4686434"/>
                  <a:pt x="1743010" y="4693431"/>
                </a:cubicBezTo>
                <a:cubicBezTo>
                  <a:pt x="1736009" y="4699262"/>
                  <a:pt x="1738343" y="4707426"/>
                  <a:pt x="1743010" y="4714424"/>
                </a:cubicBezTo>
                <a:cubicBezTo>
                  <a:pt x="1748844" y="4724920"/>
                  <a:pt x="1753512" y="4735416"/>
                  <a:pt x="1741843" y="4745912"/>
                </a:cubicBezTo>
                <a:cubicBezTo>
                  <a:pt x="1730175" y="4755242"/>
                  <a:pt x="1718506" y="4749411"/>
                  <a:pt x="1708005" y="4742414"/>
                </a:cubicBezTo>
                <a:cubicBezTo>
                  <a:pt x="1706838" y="4741247"/>
                  <a:pt x="1704504" y="4738915"/>
                  <a:pt x="1702171" y="4737749"/>
                </a:cubicBezTo>
                <a:cubicBezTo>
                  <a:pt x="1673000" y="4716756"/>
                  <a:pt x="1665999" y="4719089"/>
                  <a:pt x="1651997" y="4752910"/>
                </a:cubicBezTo>
                <a:cubicBezTo>
                  <a:pt x="1646162" y="4769237"/>
                  <a:pt x="1640328" y="4782066"/>
                  <a:pt x="1620492" y="4779734"/>
                </a:cubicBezTo>
                <a:cubicBezTo>
                  <a:pt x="1615825" y="4779734"/>
                  <a:pt x="1612324" y="4779734"/>
                  <a:pt x="1608824" y="4778567"/>
                </a:cubicBezTo>
                <a:cubicBezTo>
                  <a:pt x="1588987" y="4771570"/>
                  <a:pt x="1571485" y="4780900"/>
                  <a:pt x="1573819" y="4800726"/>
                </a:cubicBezTo>
                <a:cubicBezTo>
                  <a:pt x="1576152" y="4820552"/>
                  <a:pt x="1565651" y="4827550"/>
                  <a:pt x="1551649" y="4828716"/>
                </a:cubicBezTo>
                <a:cubicBezTo>
                  <a:pt x="1506142" y="4831049"/>
                  <a:pt x="1496807" y="4859039"/>
                  <a:pt x="1495640" y="4898691"/>
                </a:cubicBezTo>
                <a:cubicBezTo>
                  <a:pt x="1494474" y="4926681"/>
                  <a:pt x="1487473" y="4954671"/>
                  <a:pt x="1479305" y="4982661"/>
                </a:cubicBezTo>
                <a:cubicBezTo>
                  <a:pt x="1474637" y="4995490"/>
                  <a:pt x="1467636" y="5003654"/>
                  <a:pt x="1453634" y="5007153"/>
                </a:cubicBezTo>
                <a:cubicBezTo>
                  <a:pt x="1405794" y="5021148"/>
                  <a:pt x="1357954" y="5024647"/>
                  <a:pt x="1313614" y="4994324"/>
                </a:cubicBezTo>
                <a:cubicBezTo>
                  <a:pt x="1297278" y="4982661"/>
                  <a:pt x="1286777" y="4969833"/>
                  <a:pt x="1289110" y="4947674"/>
                </a:cubicBezTo>
                <a:cubicBezTo>
                  <a:pt x="1293778" y="4915019"/>
                  <a:pt x="1277442" y="4885863"/>
                  <a:pt x="1261106" y="4857873"/>
                </a:cubicBezTo>
                <a:cubicBezTo>
                  <a:pt x="1257606" y="4849709"/>
                  <a:pt x="1250605" y="4848543"/>
                  <a:pt x="1242437" y="4847376"/>
                </a:cubicBezTo>
                <a:cubicBezTo>
                  <a:pt x="1214433" y="4843877"/>
                  <a:pt x="1186429" y="4841545"/>
                  <a:pt x="1158424" y="4842711"/>
                </a:cubicBezTo>
                <a:cubicBezTo>
                  <a:pt x="1140922" y="4842711"/>
                  <a:pt x="1129254" y="4836880"/>
                  <a:pt x="1118752" y="4824051"/>
                </a:cubicBezTo>
                <a:cubicBezTo>
                  <a:pt x="1108250" y="4812389"/>
                  <a:pt x="1098916" y="4799560"/>
                  <a:pt x="1083747" y="4792562"/>
                </a:cubicBezTo>
                <a:cubicBezTo>
                  <a:pt x="1067411" y="4785565"/>
                  <a:pt x="1053409" y="4783232"/>
                  <a:pt x="1035907" y="4794895"/>
                </a:cubicBezTo>
                <a:cubicBezTo>
                  <a:pt x="1014903" y="4810056"/>
                  <a:pt x="996234" y="4803059"/>
                  <a:pt x="988066" y="4777401"/>
                </a:cubicBezTo>
                <a:cubicBezTo>
                  <a:pt x="972897" y="4733084"/>
                  <a:pt x="951894" y="4728419"/>
                  <a:pt x="915722" y="4761074"/>
                </a:cubicBezTo>
                <a:cubicBezTo>
                  <a:pt x="895886" y="4777401"/>
                  <a:pt x="883051" y="4799560"/>
                  <a:pt x="865548" y="4818220"/>
                </a:cubicBezTo>
                <a:cubicBezTo>
                  <a:pt x="851546" y="4832215"/>
                  <a:pt x="837544" y="4845044"/>
                  <a:pt x="810707" y="4848543"/>
                </a:cubicBezTo>
                <a:cubicBezTo>
                  <a:pt x="832877" y="4812389"/>
                  <a:pt x="850379" y="4780900"/>
                  <a:pt x="871382" y="4748245"/>
                </a:cubicBezTo>
                <a:cubicBezTo>
                  <a:pt x="892386" y="4714424"/>
                  <a:pt x="864381" y="4646781"/>
                  <a:pt x="823542" y="4650280"/>
                </a:cubicBezTo>
                <a:cubicBezTo>
                  <a:pt x="775702" y="4653778"/>
                  <a:pt x="760533" y="4628121"/>
                  <a:pt x="751198" y="4589635"/>
                </a:cubicBezTo>
                <a:cubicBezTo>
                  <a:pt x="748865" y="4583803"/>
                  <a:pt x="747698" y="4577972"/>
                  <a:pt x="745364" y="4572141"/>
                </a:cubicBezTo>
                <a:cubicBezTo>
                  <a:pt x="738363" y="4546483"/>
                  <a:pt x="736029" y="4545317"/>
                  <a:pt x="712693" y="4558146"/>
                </a:cubicBezTo>
                <a:cubicBezTo>
                  <a:pt x="692856" y="4569808"/>
                  <a:pt x="677687" y="4586136"/>
                  <a:pt x="663685" y="4604796"/>
                </a:cubicBezTo>
                <a:cubicBezTo>
                  <a:pt x="655518" y="4616458"/>
                  <a:pt x="648517" y="4621123"/>
                  <a:pt x="633348" y="4615292"/>
                </a:cubicBezTo>
                <a:cubicBezTo>
                  <a:pt x="620512" y="4610627"/>
                  <a:pt x="606510" y="4609461"/>
                  <a:pt x="592508" y="4608295"/>
                </a:cubicBezTo>
                <a:cubicBezTo>
                  <a:pt x="583174" y="4607128"/>
                  <a:pt x="575006" y="4611793"/>
                  <a:pt x="572672" y="4621123"/>
                </a:cubicBezTo>
                <a:cubicBezTo>
                  <a:pt x="570338" y="4631620"/>
                  <a:pt x="573839" y="4638617"/>
                  <a:pt x="583174" y="4643282"/>
                </a:cubicBezTo>
                <a:cubicBezTo>
                  <a:pt x="590175" y="4646781"/>
                  <a:pt x="597176" y="4649113"/>
                  <a:pt x="604177" y="4652612"/>
                </a:cubicBezTo>
                <a:cubicBezTo>
                  <a:pt x="615845" y="4658443"/>
                  <a:pt x="620512" y="4666607"/>
                  <a:pt x="618179" y="4680602"/>
                </a:cubicBezTo>
                <a:cubicBezTo>
                  <a:pt x="611178" y="4722587"/>
                  <a:pt x="626347" y="4751744"/>
                  <a:pt x="663685" y="4770404"/>
                </a:cubicBezTo>
                <a:cubicBezTo>
                  <a:pt x="669520" y="4773902"/>
                  <a:pt x="682355" y="4772736"/>
                  <a:pt x="680021" y="4783232"/>
                </a:cubicBezTo>
                <a:cubicBezTo>
                  <a:pt x="678854" y="4793729"/>
                  <a:pt x="668353" y="4796061"/>
                  <a:pt x="657851" y="4797227"/>
                </a:cubicBezTo>
                <a:cubicBezTo>
                  <a:pt x="656684" y="4797227"/>
                  <a:pt x="655518" y="4797227"/>
                  <a:pt x="654351" y="4797227"/>
                </a:cubicBezTo>
                <a:cubicBezTo>
                  <a:pt x="626347" y="4801892"/>
                  <a:pt x="618179" y="4814721"/>
                  <a:pt x="632181" y="4836880"/>
                </a:cubicBezTo>
                <a:cubicBezTo>
                  <a:pt x="645016" y="4857873"/>
                  <a:pt x="641515" y="4874200"/>
                  <a:pt x="629847" y="4891694"/>
                </a:cubicBezTo>
                <a:cubicBezTo>
                  <a:pt x="614678" y="4915019"/>
                  <a:pt x="603010" y="4939510"/>
                  <a:pt x="610011" y="4968666"/>
                </a:cubicBezTo>
                <a:cubicBezTo>
                  <a:pt x="613511" y="4981495"/>
                  <a:pt x="600676" y="4987326"/>
                  <a:pt x="592508" y="4989659"/>
                </a:cubicBezTo>
                <a:cubicBezTo>
                  <a:pt x="562171" y="5000155"/>
                  <a:pt x="548169" y="5019982"/>
                  <a:pt x="544668" y="5050304"/>
                </a:cubicBezTo>
                <a:cubicBezTo>
                  <a:pt x="542334" y="5068964"/>
                  <a:pt x="535333" y="5072463"/>
                  <a:pt x="516664" y="5060800"/>
                </a:cubicBezTo>
                <a:cubicBezTo>
                  <a:pt x="476991" y="5036309"/>
                  <a:pt x="418650" y="5053803"/>
                  <a:pt x="401147" y="5094622"/>
                </a:cubicBezTo>
                <a:cubicBezTo>
                  <a:pt x="397646" y="5102785"/>
                  <a:pt x="392979" y="5113282"/>
                  <a:pt x="401147" y="5120279"/>
                </a:cubicBezTo>
                <a:cubicBezTo>
                  <a:pt x="409315" y="5127277"/>
                  <a:pt x="420983" y="5130775"/>
                  <a:pt x="431485" y="5123778"/>
                </a:cubicBezTo>
                <a:cubicBezTo>
                  <a:pt x="438486" y="5120279"/>
                  <a:pt x="445487" y="5114448"/>
                  <a:pt x="452488" y="5109783"/>
                </a:cubicBezTo>
                <a:cubicBezTo>
                  <a:pt x="459489" y="5103952"/>
                  <a:pt x="466490" y="5100453"/>
                  <a:pt x="472324" y="5107450"/>
                </a:cubicBezTo>
                <a:cubicBezTo>
                  <a:pt x="479325" y="5115614"/>
                  <a:pt x="474658" y="5122612"/>
                  <a:pt x="468824" y="5128443"/>
                </a:cubicBezTo>
                <a:cubicBezTo>
                  <a:pt x="464156" y="5134274"/>
                  <a:pt x="457155" y="5138939"/>
                  <a:pt x="452488" y="5143604"/>
                </a:cubicBezTo>
                <a:cubicBezTo>
                  <a:pt x="441986" y="5154100"/>
                  <a:pt x="436152" y="5168096"/>
                  <a:pt x="446654" y="5179758"/>
                </a:cubicBezTo>
                <a:cubicBezTo>
                  <a:pt x="455988" y="5189088"/>
                  <a:pt x="468824" y="5179758"/>
                  <a:pt x="478158" y="5172761"/>
                </a:cubicBezTo>
                <a:cubicBezTo>
                  <a:pt x="486326" y="5166929"/>
                  <a:pt x="492160" y="5156433"/>
                  <a:pt x="502662" y="5152934"/>
                </a:cubicBezTo>
                <a:cubicBezTo>
                  <a:pt x="517831" y="5147103"/>
                  <a:pt x="527165" y="5149435"/>
                  <a:pt x="525999" y="5168096"/>
                </a:cubicBezTo>
                <a:cubicBezTo>
                  <a:pt x="524832" y="5193753"/>
                  <a:pt x="514330" y="5214746"/>
                  <a:pt x="500328" y="5234572"/>
                </a:cubicBezTo>
                <a:cubicBezTo>
                  <a:pt x="482826" y="5260229"/>
                  <a:pt x="481659" y="5274224"/>
                  <a:pt x="500328" y="5298716"/>
                </a:cubicBezTo>
                <a:cubicBezTo>
                  <a:pt x="506162" y="5308046"/>
                  <a:pt x="515497" y="5316209"/>
                  <a:pt x="523665" y="5324373"/>
                </a:cubicBezTo>
                <a:cubicBezTo>
                  <a:pt x="527165" y="5327872"/>
                  <a:pt x="533000" y="5331371"/>
                  <a:pt x="530666" y="5337202"/>
                </a:cubicBezTo>
                <a:cubicBezTo>
                  <a:pt x="528332" y="5344200"/>
                  <a:pt x="522498" y="5345366"/>
                  <a:pt x="517831" y="5344200"/>
                </a:cubicBezTo>
                <a:cubicBezTo>
                  <a:pt x="496828" y="5339535"/>
                  <a:pt x="492160" y="5348865"/>
                  <a:pt x="493327" y="5367525"/>
                </a:cubicBezTo>
                <a:cubicBezTo>
                  <a:pt x="494494" y="5390850"/>
                  <a:pt x="479325" y="5407177"/>
                  <a:pt x="462989" y="5420006"/>
                </a:cubicBezTo>
                <a:cubicBezTo>
                  <a:pt x="450154" y="5430502"/>
                  <a:pt x="448987" y="5438666"/>
                  <a:pt x="461823" y="5447996"/>
                </a:cubicBezTo>
                <a:cubicBezTo>
                  <a:pt x="468824" y="5452661"/>
                  <a:pt x="473491" y="5457326"/>
                  <a:pt x="471157" y="5466656"/>
                </a:cubicBezTo>
                <a:cubicBezTo>
                  <a:pt x="468824" y="5479485"/>
                  <a:pt x="459489" y="5477152"/>
                  <a:pt x="451321" y="5479485"/>
                </a:cubicBezTo>
                <a:cubicBezTo>
                  <a:pt x="446654" y="5480651"/>
                  <a:pt x="440819" y="5480651"/>
                  <a:pt x="434985" y="5481817"/>
                </a:cubicBezTo>
                <a:cubicBezTo>
                  <a:pt x="403481" y="5485316"/>
                  <a:pt x="396480" y="5502810"/>
                  <a:pt x="415149" y="5529634"/>
                </a:cubicBezTo>
                <a:cubicBezTo>
                  <a:pt x="417483" y="5533132"/>
                  <a:pt x="419816" y="5535465"/>
                  <a:pt x="420983" y="5538964"/>
                </a:cubicBezTo>
                <a:cubicBezTo>
                  <a:pt x="424484" y="5545961"/>
                  <a:pt x="426817" y="5555291"/>
                  <a:pt x="419816" y="5559956"/>
                </a:cubicBezTo>
                <a:cubicBezTo>
                  <a:pt x="413982" y="5564621"/>
                  <a:pt x="405814" y="5559956"/>
                  <a:pt x="401147" y="5555291"/>
                </a:cubicBezTo>
                <a:cubicBezTo>
                  <a:pt x="396480" y="5550626"/>
                  <a:pt x="392979" y="5545961"/>
                  <a:pt x="389479" y="5540130"/>
                </a:cubicBezTo>
                <a:cubicBezTo>
                  <a:pt x="382478" y="5531966"/>
                  <a:pt x="375477" y="5529634"/>
                  <a:pt x="366142" y="5536631"/>
                </a:cubicBezTo>
                <a:cubicBezTo>
                  <a:pt x="343972" y="5551792"/>
                  <a:pt x="319468" y="5554125"/>
                  <a:pt x="294965" y="5555291"/>
                </a:cubicBezTo>
                <a:cubicBezTo>
                  <a:pt x="265794" y="5557624"/>
                  <a:pt x="235456" y="5554125"/>
                  <a:pt x="206285" y="5561122"/>
                </a:cubicBezTo>
                <a:cubicBezTo>
                  <a:pt x="195784" y="5563455"/>
                  <a:pt x="189949" y="5556457"/>
                  <a:pt x="185282" y="5550626"/>
                </a:cubicBezTo>
                <a:cubicBezTo>
                  <a:pt x="168946" y="5531966"/>
                  <a:pt x="153777" y="5513306"/>
                  <a:pt x="124607" y="5522636"/>
                </a:cubicBezTo>
                <a:cubicBezTo>
                  <a:pt x="118772" y="5523802"/>
                  <a:pt x="115272" y="5519137"/>
                  <a:pt x="112938" y="5514472"/>
                </a:cubicBezTo>
                <a:cubicBezTo>
                  <a:pt x="100103" y="5491147"/>
                  <a:pt x="79100" y="5472487"/>
                  <a:pt x="61597" y="5452661"/>
                </a:cubicBezTo>
                <a:cubicBezTo>
                  <a:pt x="34760" y="5422338"/>
                  <a:pt x="19591" y="5388517"/>
                  <a:pt x="30093" y="5347698"/>
                </a:cubicBezTo>
                <a:cubicBezTo>
                  <a:pt x="33593" y="5331371"/>
                  <a:pt x="24259" y="5320874"/>
                  <a:pt x="14924" y="5311544"/>
                </a:cubicBezTo>
                <a:cubicBezTo>
                  <a:pt x="-6079" y="5289386"/>
                  <a:pt x="-4912" y="5277723"/>
                  <a:pt x="18424" y="5260229"/>
                </a:cubicBezTo>
                <a:cubicBezTo>
                  <a:pt x="44095" y="5242736"/>
                  <a:pt x="44095" y="5242736"/>
                  <a:pt x="23092" y="5217078"/>
                </a:cubicBezTo>
                <a:cubicBezTo>
                  <a:pt x="18424" y="5211247"/>
                  <a:pt x="14924" y="5206582"/>
                  <a:pt x="21925" y="5199584"/>
                </a:cubicBezTo>
                <a:cubicBezTo>
                  <a:pt x="45262" y="5172761"/>
                  <a:pt x="66265" y="5145937"/>
                  <a:pt x="90768" y="5120279"/>
                </a:cubicBezTo>
                <a:cubicBezTo>
                  <a:pt x="108271" y="5100453"/>
                  <a:pt x="130441" y="5087624"/>
                  <a:pt x="156111" y="5081793"/>
                </a:cubicBezTo>
                <a:cubicBezTo>
                  <a:pt x="172447" y="5077128"/>
                  <a:pt x="203951" y="5035143"/>
                  <a:pt x="205118" y="5017649"/>
                </a:cubicBezTo>
                <a:cubicBezTo>
                  <a:pt x="205118" y="5011818"/>
                  <a:pt x="205118" y="5007153"/>
                  <a:pt x="198117" y="5004820"/>
                </a:cubicBezTo>
                <a:cubicBezTo>
                  <a:pt x="161945" y="4988493"/>
                  <a:pt x="144443" y="4957004"/>
                  <a:pt x="129274" y="4923183"/>
                </a:cubicBezTo>
                <a:cubicBezTo>
                  <a:pt x="125773" y="4916185"/>
                  <a:pt x="123440" y="4910354"/>
                  <a:pt x="119939" y="4904523"/>
                </a:cubicBezTo>
                <a:cubicBezTo>
                  <a:pt x="108271" y="4885863"/>
                  <a:pt x="102437" y="4869535"/>
                  <a:pt x="110604" y="4846210"/>
                </a:cubicBezTo>
                <a:cubicBezTo>
                  <a:pt x="118772" y="4822885"/>
                  <a:pt x="105937" y="4799560"/>
                  <a:pt x="94269" y="4778567"/>
                </a:cubicBezTo>
                <a:cubicBezTo>
                  <a:pt x="89601" y="4768071"/>
                  <a:pt x="87268" y="4761074"/>
                  <a:pt x="95436" y="4750577"/>
                </a:cubicBezTo>
                <a:cubicBezTo>
                  <a:pt x="128107" y="4706260"/>
                  <a:pt x="152611" y="4657277"/>
                  <a:pt x="157278" y="4600131"/>
                </a:cubicBezTo>
                <a:cubicBezTo>
                  <a:pt x="158445" y="4591967"/>
                  <a:pt x="160778" y="4588468"/>
                  <a:pt x="168946" y="4590801"/>
                </a:cubicBezTo>
                <a:cubicBezTo>
                  <a:pt x="201618" y="4597798"/>
                  <a:pt x="222621" y="4580305"/>
                  <a:pt x="240123" y="4556980"/>
                </a:cubicBezTo>
                <a:cubicBezTo>
                  <a:pt x="248291" y="4546483"/>
                  <a:pt x="255292" y="4540652"/>
                  <a:pt x="270461" y="4547650"/>
                </a:cubicBezTo>
                <a:cubicBezTo>
                  <a:pt x="289131" y="4558146"/>
                  <a:pt x="306633" y="4548816"/>
                  <a:pt x="321802" y="4535987"/>
                </a:cubicBezTo>
                <a:cubicBezTo>
                  <a:pt x="334637" y="4525491"/>
                  <a:pt x="347472" y="4512662"/>
                  <a:pt x="360308" y="4502166"/>
                </a:cubicBezTo>
                <a:cubicBezTo>
                  <a:pt x="373143" y="4492836"/>
                  <a:pt x="384811" y="4491669"/>
                  <a:pt x="388312" y="4511496"/>
                </a:cubicBezTo>
                <a:cubicBezTo>
                  <a:pt x="388312" y="4516161"/>
                  <a:pt x="389479" y="4520826"/>
                  <a:pt x="391812" y="4525491"/>
                </a:cubicBezTo>
                <a:cubicBezTo>
                  <a:pt x="394146" y="4531322"/>
                  <a:pt x="394146" y="4540652"/>
                  <a:pt x="402314" y="4541818"/>
                </a:cubicBezTo>
                <a:cubicBezTo>
                  <a:pt x="409315" y="4541818"/>
                  <a:pt x="413982" y="4535987"/>
                  <a:pt x="417483" y="4531322"/>
                </a:cubicBezTo>
                <a:cubicBezTo>
                  <a:pt x="434985" y="4511496"/>
                  <a:pt x="441986" y="4512662"/>
                  <a:pt x="452488" y="4537153"/>
                </a:cubicBezTo>
                <a:cubicBezTo>
                  <a:pt x="454822" y="4542985"/>
                  <a:pt x="455988" y="4547650"/>
                  <a:pt x="459489" y="4552315"/>
                </a:cubicBezTo>
                <a:cubicBezTo>
                  <a:pt x="464156" y="4559312"/>
                  <a:pt x="468824" y="4565143"/>
                  <a:pt x="480492" y="4560478"/>
                </a:cubicBezTo>
                <a:cubicBezTo>
                  <a:pt x="490993" y="4554647"/>
                  <a:pt x="490993" y="4549982"/>
                  <a:pt x="488660" y="4540652"/>
                </a:cubicBezTo>
                <a:cubicBezTo>
                  <a:pt x="476991" y="4488171"/>
                  <a:pt x="489827" y="4442687"/>
                  <a:pt x="521331" y="4399536"/>
                </a:cubicBezTo>
                <a:cubicBezTo>
                  <a:pt x="540001" y="4373878"/>
                  <a:pt x="564504" y="4357550"/>
                  <a:pt x="596009" y="4352885"/>
                </a:cubicBezTo>
                <a:cubicBezTo>
                  <a:pt x="610011" y="4350553"/>
                  <a:pt x="612345" y="4345888"/>
                  <a:pt x="607677" y="4333059"/>
                </a:cubicBezTo>
                <a:cubicBezTo>
                  <a:pt x="601843" y="4317898"/>
                  <a:pt x="597176" y="4300404"/>
                  <a:pt x="586674" y="4287575"/>
                </a:cubicBezTo>
                <a:cubicBezTo>
                  <a:pt x="578506" y="4278245"/>
                  <a:pt x="580840" y="4273580"/>
                  <a:pt x="591341" y="4267749"/>
                </a:cubicBezTo>
                <a:cubicBezTo>
                  <a:pt x="613511" y="4257253"/>
                  <a:pt x="626347" y="4210603"/>
                  <a:pt x="613511" y="4189610"/>
                </a:cubicBezTo>
                <a:cubicBezTo>
                  <a:pt x="608844" y="4182613"/>
                  <a:pt x="601843" y="4182613"/>
                  <a:pt x="596009" y="4181446"/>
                </a:cubicBezTo>
                <a:cubicBezTo>
                  <a:pt x="577339" y="4176781"/>
                  <a:pt x="559837" y="4170950"/>
                  <a:pt x="545835" y="4156955"/>
                </a:cubicBezTo>
                <a:cubicBezTo>
                  <a:pt x="523665" y="4132464"/>
                  <a:pt x="530666" y="4110305"/>
                  <a:pt x="563337" y="4103308"/>
                </a:cubicBezTo>
                <a:cubicBezTo>
                  <a:pt x="572672" y="4100975"/>
                  <a:pt x="583174" y="4100975"/>
                  <a:pt x="592508" y="4098643"/>
                </a:cubicBezTo>
                <a:cubicBezTo>
                  <a:pt x="618179" y="4091645"/>
                  <a:pt x="625180" y="4079983"/>
                  <a:pt x="617012" y="4054325"/>
                </a:cubicBezTo>
                <a:cubicBezTo>
                  <a:pt x="613511" y="4041496"/>
                  <a:pt x="606510" y="4032166"/>
                  <a:pt x="599509" y="4021670"/>
                </a:cubicBezTo>
                <a:cubicBezTo>
                  <a:pt x="591341" y="4011173"/>
                  <a:pt x="584340" y="4001843"/>
                  <a:pt x="578506" y="3990181"/>
                </a:cubicBezTo>
                <a:cubicBezTo>
                  <a:pt x="573839" y="3982017"/>
                  <a:pt x="570338" y="3971521"/>
                  <a:pt x="572672" y="3961025"/>
                </a:cubicBezTo>
                <a:cubicBezTo>
                  <a:pt x="577339" y="3947030"/>
                  <a:pt x="590175" y="3956360"/>
                  <a:pt x="598343" y="3955193"/>
                </a:cubicBezTo>
                <a:cubicBezTo>
                  <a:pt x="618179" y="3950528"/>
                  <a:pt x="639182" y="3949362"/>
                  <a:pt x="655518" y="3936533"/>
                </a:cubicBezTo>
                <a:cubicBezTo>
                  <a:pt x="666019" y="3927203"/>
                  <a:pt x="668353" y="3919039"/>
                  <a:pt x="660185" y="3906211"/>
                </a:cubicBezTo>
                <a:cubicBezTo>
                  <a:pt x="648517" y="3888717"/>
                  <a:pt x="632181" y="3872389"/>
                  <a:pt x="618179" y="3857228"/>
                </a:cubicBezTo>
                <a:cubicBezTo>
                  <a:pt x="594842" y="3831571"/>
                  <a:pt x="576173" y="3805913"/>
                  <a:pt x="593675" y="3769759"/>
                </a:cubicBezTo>
                <a:cubicBezTo>
                  <a:pt x="597176" y="3760429"/>
                  <a:pt x="591341" y="3754598"/>
                  <a:pt x="586674" y="3748767"/>
                </a:cubicBezTo>
                <a:cubicBezTo>
                  <a:pt x="578506" y="3737104"/>
                  <a:pt x="565671" y="3730107"/>
                  <a:pt x="554003" y="3724275"/>
                </a:cubicBezTo>
                <a:cubicBezTo>
                  <a:pt x="535333" y="3714945"/>
                  <a:pt x="516664" y="3707948"/>
                  <a:pt x="507329" y="3686955"/>
                </a:cubicBezTo>
                <a:cubicBezTo>
                  <a:pt x="496828" y="3693953"/>
                  <a:pt x="495661" y="3705615"/>
                  <a:pt x="490993" y="3713779"/>
                </a:cubicBezTo>
                <a:cubicBezTo>
                  <a:pt x="486326" y="3721943"/>
                  <a:pt x="482826" y="3733605"/>
                  <a:pt x="469990" y="3732439"/>
                </a:cubicBezTo>
                <a:cubicBezTo>
                  <a:pt x="454822" y="3731273"/>
                  <a:pt x="439653" y="3727774"/>
                  <a:pt x="432652" y="3712613"/>
                </a:cubicBezTo>
                <a:cubicBezTo>
                  <a:pt x="425651" y="3699784"/>
                  <a:pt x="427984" y="3689288"/>
                  <a:pt x="446654" y="3690454"/>
                </a:cubicBezTo>
                <a:cubicBezTo>
                  <a:pt x="459489" y="3691620"/>
                  <a:pt x="461823" y="3683457"/>
                  <a:pt x="461823" y="3672960"/>
                </a:cubicBezTo>
                <a:cubicBezTo>
                  <a:pt x="464156" y="3643804"/>
                  <a:pt x="437319" y="3625144"/>
                  <a:pt x="410482" y="3637973"/>
                </a:cubicBezTo>
                <a:cubicBezTo>
                  <a:pt x="401147" y="3641472"/>
                  <a:pt x="392979" y="3646137"/>
                  <a:pt x="382478" y="3649635"/>
                </a:cubicBezTo>
                <a:cubicBezTo>
                  <a:pt x="370809" y="3651968"/>
                  <a:pt x="361475" y="3648469"/>
                  <a:pt x="354474" y="3637973"/>
                </a:cubicBezTo>
                <a:cubicBezTo>
                  <a:pt x="346306" y="3627477"/>
                  <a:pt x="352140" y="3619313"/>
                  <a:pt x="357974" y="3609983"/>
                </a:cubicBezTo>
                <a:cubicBezTo>
                  <a:pt x="368476" y="3593655"/>
                  <a:pt x="385978" y="3590156"/>
                  <a:pt x="403481" y="3584325"/>
                </a:cubicBezTo>
                <a:cubicBezTo>
                  <a:pt x="445487" y="3570330"/>
                  <a:pt x="445487" y="3570330"/>
                  <a:pt x="431485" y="3528345"/>
                </a:cubicBezTo>
                <a:cubicBezTo>
                  <a:pt x="418650" y="3487526"/>
                  <a:pt x="406981" y="3447874"/>
                  <a:pt x="405814" y="3405889"/>
                </a:cubicBezTo>
                <a:cubicBezTo>
                  <a:pt x="405814" y="3391894"/>
                  <a:pt x="397646" y="3390727"/>
                  <a:pt x="388312" y="3388395"/>
                </a:cubicBezTo>
                <a:cubicBezTo>
                  <a:pt x="357974" y="3380231"/>
                  <a:pt x="327636" y="3369735"/>
                  <a:pt x="296132" y="3352241"/>
                </a:cubicBezTo>
                <a:cubicBezTo>
                  <a:pt x="322969" y="3342911"/>
                  <a:pt x="346306" y="3347576"/>
                  <a:pt x="370809" y="3348742"/>
                </a:cubicBezTo>
                <a:cubicBezTo>
                  <a:pt x="422150" y="3351075"/>
                  <a:pt x="445487" y="3332415"/>
                  <a:pt x="451321" y="3286931"/>
                </a:cubicBezTo>
                <a:cubicBezTo>
                  <a:pt x="454822" y="3265938"/>
                  <a:pt x="447820" y="3254276"/>
                  <a:pt x="426817" y="3249611"/>
                </a:cubicBezTo>
                <a:cubicBezTo>
                  <a:pt x="417483" y="3247278"/>
                  <a:pt x="408148" y="3247278"/>
                  <a:pt x="399980" y="3240281"/>
                </a:cubicBezTo>
                <a:cubicBezTo>
                  <a:pt x="409315" y="3226286"/>
                  <a:pt x="424484" y="3226286"/>
                  <a:pt x="437319" y="3226286"/>
                </a:cubicBezTo>
                <a:cubicBezTo>
                  <a:pt x="451321" y="3226286"/>
                  <a:pt x="454822" y="3220455"/>
                  <a:pt x="455988" y="3208792"/>
                </a:cubicBezTo>
                <a:cubicBezTo>
                  <a:pt x="458322" y="3176137"/>
                  <a:pt x="446654" y="3149313"/>
                  <a:pt x="430318" y="3122489"/>
                </a:cubicBezTo>
                <a:cubicBezTo>
                  <a:pt x="420983" y="3107328"/>
                  <a:pt x="410482" y="3091001"/>
                  <a:pt x="401147" y="3075839"/>
                </a:cubicBezTo>
                <a:cubicBezTo>
                  <a:pt x="387145" y="3051348"/>
                  <a:pt x="382478" y="3025691"/>
                  <a:pt x="390645" y="2998867"/>
                </a:cubicBezTo>
                <a:cubicBezTo>
                  <a:pt x="397646" y="2972043"/>
                  <a:pt x="390645" y="2959214"/>
                  <a:pt x="364975" y="2949884"/>
                </a:cubicBezTo>
                <a:cubicBezTo>
                  <a:pt x="361475" y="2948718"/>
                  <a:pt x="357974" y="2948718"/>
                  <a:pt x="352140" y="2947552"/>
                </a:cubicBezTo>
                <a:cubicBezTo>
                  <a:pt x="362641" y="2928892"/>
                  <a:pt x="380144" y="2925393"/>
                  <a:pt x="395313" y="2919562"/>
                </a:cubicBezTo>
                <a:cubicBezTo>
                  <a:pt x="413982" y="2912564"/>
                  <a:pt x="427984" y="2902068"/>
                  <a:pt x="433818" y="2882242"/>
                </a:cubicBezTo>
                <a:cubicBezTo>
                  <a:pt x="439653" y="2868247"/>
                  <a:pt x="437319" y="2857750"/>
                  <a:pt x="422150" y="2851919"/>
                </a:cubicBezTo>
                <a:cubicBezTo>
                  <a:pt x="405814" y="2846088"/>
                  <a:pt x="395313" y="2837924"/>
                  <a:pt x="396480" y="2818098"/>
                </a:cubicBezTo>
                <a:cubicBezTo>
                  <a:pt x="396480" y="2799438"/>
                  <a:pt x="410482" y="2797105"/>
                  <a:pt x="424484" y="2793607"/>
                </a:cubicBezTo>
                <a:cubicBezTo>
                  <a:pt x="429151" y="2792440"/>
                  <a:pt x="437319" y="2792440"/>
                  <a:pt x="436152" y="2784277"/>
                </a:cubicBezTo>
                <a:cubicBezTo>
                  <a:pt x="436152" y="2774946"/>
                  <a:pt x="431485" y="2764450"/>
                  <a:pt x="422150" y="2762118"/>
                </a:cubicBezTo>
                <a:cubicBezTo>
                  <a:pt x="396480" y="2755120"/>
                  <a:pt x="398813" y="2738793"/>
                  <a:pt x="404648" y="2717800"/>
                </a:cubicBezTo>
                <a:cubicBezTo>
                  <a:pt x="411649" y="2686311"/>
                  <a:pt x="410482" y="2654823"/>
                  <a:pt x="401147" y="2623334"/>
                </a:cubicBezTo>
                <a:cubicBezTo>
                  <a:pt x="398813" y="2614004"/>
                  <a:pt x="397646" y="2605840"/>
                  <a:pt x="403481" y="2597676"/>
                </a:cubicBezTo>
                <a:cubicBezTo>
                  <a:pt x="418650" y="2574351"/>
                  <a:pt x="426817" y="2552192"/>
                  <a:pt x="409315" y="2525369"/>
                </a:cubicBezTo>
                <a:cubicBezTo>
                  <a:pt x="403481" y="2514872"/>
                  <a:pt x="415149" y="2509041"/>
                  <a:pt x="422150" y="2510207"/>
                </a:cubicBezTo>
                <a:cubicBezTo>
                  <a:pt x="460656" y="2518371"/>
                  <a:pt x="473491" y="2498545"/>
                  <a:pt x="475825" y="2464724"/>
                </a:cubicBezTo>
                <a:cubicBezTo>
                  <a:pt x="476991" y="2458892"/>
                  <a:pt x="481659" y="2454227"/>
                  <a:pt x="485159" y="2448396"/>
                </a:cubicBezTo>
                <a:cubicBezTo>
                  <a:pt x="503829" y="2416907"/>
                  <a:pt x="506162" y="2414575"/>
                  <a:pt x="542334" y="2422738"/>
                </a:cubicBezTo>
                <a:cubicBezTo>
                  <a:pt x="562171" y="2427403"/>
                  <a:pt x="575006" y="2425071"/>
                  <a:pt x="584340" y="2404078"/>
                </a:cubicBezTo>
                <a:cubicBezTo>
                  <a:pt x="591341" y="2388917"/>
                  <a:pt x="604177" y="2374922"/>
                  <a:pt x="622846" y="2372590"/>
                </a:cubicBezTo>
                <a:cubicBezTo>
                  <a:pt x="640349" y="2370257"/>
                  <a:pt x="641515" y="2358595"/>
                  <a:pt x="641515" y="2345766"/>
                </a:cubicBezTo>
                <a:cubicBezTo>
                  <a:pt x="641515" y="2332937"/>
                  <a:pt x="640349" y="2321275"/>
                  <a:pt x="648517" y="2310778"/>
                </a:cubicBezTo>
                <a:cubicBezTo>
                  <a:pt x="654351" y="2302615"/>
                  <a:pt x="648517" y="2296783"/>
                  <a:pt x="642682" y="2293285"/>
                </a:cubicBezTo>
                <a:cubicBezTo>
                  <a:pt x="633348" y="2289786"/>
                  <a:pt x="625180" y="2287453"/>
                  <a:pt x="615845" y="2286287"/>
                </a:cubicBezTo>
                <a:cubicBezTo>
                  <a:pt x="585507" y="2278123"/>
                  <a:pt x="584340" y="2275791"/>
                  <a:pt x="597176" y="2248967"/>
                </a:cubicBezTo>
                <a:cubicBezTo>
                  <a:pt x="603010" y="2234972"/>
                  <a:pt x="612345" y="2223309"/>
                  <a:pt x="619346" y="2210481"/>
                </a:cubicBezTo>
                <a:cubicBezTo>
                  <a:pt x="628680" y="2195319"/>
                  <a:pt x="638015" y="2180158"/>
                  <a:pt x="657851" y="2198818"/>
                </a:cubicBezTo>
                <a:cubicBezTo>
                  <a:pt x="664852" y="2204649"/>
                  <a:pt x="674187" y="2201151"/>
                  <a:pt x="676521" y="2190654"/>
                </a:cubicBezTo>
                <a:cubicBezTo>
                  <a:pt x="680021" y="2177826"/>
                  <a:pt x="684688" y="2163831"/>
                  <a:pt x="668353" y="2153334"/>
                </a:cubicBezTo>
                <a:cubicBezTo>
                  <a:pt x="667186" y="2153334"/>
                  <a:pt x="666019" y="2153334"/>
                  <a:pt x="663685" y="2152168"/>
                </a:cubicBezTo>
                <a:cubicBezTo>
                  <a:pt x="654351" y="2148669"/>
                  <a:pt x="638015" y="2156833"/>
                  <a:pt x="635681" y="2139339"/>
                </a:cubicBezTo>
                <a:cubicBezTo>
                  <a:pt x="633348" y="2123012"/>
                  <a:pt x="638015" y="2107850"/>
                  <a:pt x="648517" y="2093855"/>
                </a:cubicBezTo>
                <a:cubicBezTo>
                  <a:pt x="657851" y="2083359"/>
                  <a:pt x="670686" y="2076362"/>
                  <a:pt x="683522" y="2071697"/>
                </a:cubicBezTo>
                <a:cubicBezTo>
                  <a:pt x="694023" y="2068198"/>
                  <a:pt x="702191" y="2068198"/>
                  <a:pt x="703358" y="2082193"/>
                </a:cubicBezTo>
                <a:cubicBezTo>
                  <a:pt x="704525" y="2086858"/>
                  <a:pt x="706858" y="2091523"/>
                  <a:pt x="711526" y="2091523"/>
                </a:cubicBezTo>
                <a:cubicBezTo>
                  <a:pt x="719694" y="2091523"/>
                  <a:pt x="720860" y="2085692"/>
                  <a:pt x="720860" y="2081027"/>
                </a:cubicBezTo>
                <a:cubicBezTo>
                  <a:pt x="722027" y="2071697"/>
                  <a:pt x="722027" y="2063533"/>
                  <a:pt x="723194" y="2055369"/>
                </a:cubicBezTo>
                <a:cubicBezTo>
                  <a:pt x="726695" y="2027379"/>
                  <a:pt x="745364" y="2016883"/>
                  <a:pt x="771034" y="2027379"/>
                </a:cubicBezTo>
                <a:cubicBezTo>
                  <a:pt x="774535" y="2028545"/>
                  <a:pt x="776869" y="2029712"/>
                  <a:pt x="779202" y="2030878"/>
                </a:cubicBezTo>
                <a:cubicBezTo>
                  <a:pt x="816541" y="2050704"/>
                  <a:pt x="822375" y="2049538"/>
                  <a:pt x="839878" y="2009885"/>
                </a:cubicBezTo>
                <a:cubicBezTo>
                  <a:pt x="846879" y="1994724"/>
                  <a:pt x="855047" y="1986560"/>
                  <a:pt x="872549" y="1988893"/>
                </a:cubicBezTo>
                <a:cubicBezTo>
                  <a:pt x="879550" y="1990059"/>
                  <a:pt x="885385" y="1988893"/>
                  <a:pt x="891219" y="1987727"/>
                </a:cubicBezTo>
                <a:cubicBezTo>
                  <a:pt x="926224" y="1986560"/>
                  <a:pt x="953061" y="1973732"/>
                  <a:pt x="961229" y="1935245"/>
                </a:cubicBezTo>
                <a:cubicBezTo>
                  <a:pt x="964729" y="1921250"/>
                  <a:pt x="970564" y="1907255"/>
                  <a:pt x="979898" y="1895593"/>
                </a:cubicBezTo>
                <a:cubicBezTo>
                  <a:pt x="985733" y="1887429"/>
                  <a:pt x="995067" y="1882764"/>
                  <a:pt x="1004402" y="1886263"/>
                </a:cubicBezTo>
                <a:cubicBezTo>
                  <a:pt x="1016070" y="1889761"/>
                  <a:pt x="1011403" y="1900258"/>
                  <a:pt x="1010236" y="1908421"/>
                </a:cubicBezTo>
                <a:cubicBezTo>
                  <a:pt x="1005569" y="1959736"/>
                  <a:pt x="1005569" y="1959736"/>
                  <a:pt x="1054576" y="1949240"/>
                </a:cubicBezTo>
                <a:cubicBezTo>
                  <a:pt x="1072079" y="1945741"/>
                  <a:pt x="1088414" y="1944575"/>
                  <a:pt x="1105917" y="1948074"/>
                </a:cubicBezTo>
                <a:cubicBezTo>
                  <a:pt x="1123419" y="1952739"/>
                  <a:pt x="1137421" y="1956238"/>
                  <a:pt x="1144422" y="1978397"/>
                </a:cubicBezTo>
                <a:cubicBezTo>
                  <a:pt x="1156091" y="2009885"/>
                  <a:pt x="1200431" y="2019215"/>
                  <a:pt x="1237769" y="2001722"/>
                </a:cubicBezTo>
                <a:cubicBezTo>
                  <a:pt x="1243604" y="1999389"/>
                  <a:pt x="1248271" y="1995890"/>
                  <a:pt x="1255272" y="1992392"/>
                </a:cubicBezTo>
                <a:cubicBezTo>
                  <a:pt x="1259939" y="2019215"/>
                  <a:pt x="1266940" y="2043707"/>
                  <a:pt x="1293778" y="2055369"/>
                </a:cubicBezTo>
                <a:cubicBezTo>
                  <a:pt x="1318281" y="2065865"/>
                  <a:pt x="1341618" y="2060034"/>
                  <a:pt x="1366122" y="2055369"/>
                </a:cubicBezTo>
                <a:cubicBezTo>
                  <a:pt x="1368455" y="2062367"/>
                  <a:pt x="1363788" y="2064699"/>
                  <a:pt x="1361454" y="2068198"/>
                </a:cubicBezTo>
                <a:cubicBezTo>
                  <a:pt x="1338117" y="2093855"/>
                  <a:pt x="1347452" y="2123012"/>
                  <a:pt x="1381290" y="2133508"/>
                </a:cubicBezTo>
                <a:cubicBezTo>
                  <a:pt x="1416296" y="2144004"/>
                  <a:pt x="1416296" y="2144004"/>
                  <a:pt x="1404627" y="2178992"/>
                </a:cubicBezTo>
                <a:cubicBezTo>
                  <a:pt x="1396459" y="2203483"/>
                  <a:pt x="1410461" y="2229141"/>
                  <a:pt x="1436132" y="2232639"/>
                </a:cubicBezTo>
                <a:cubicBezTo>
                  <a:pt x="1448967" y="2234972"/>
                  <a:pt x="1450134" y="2223309"/>
                  <a:pt x="1452467" y="2215146"/>
                </a:cubicBezTo>
                <a:cubicBezTo>
                  <a:pt x="1455968" y="2201151"/>
                  <a:pt x="1458302" y="2184823"/>
                  <a:pt x="1475804" y="2180158"/>
                </a:cubicBezTo>
                <a:cubicBezTo>
                  <a:pt x="1487473" y="2177826"/>
                  <a:pt x="1495640" y="2176659"/>
                  <a:pt x="1490973" y="2194153"/>
                </a:cubicBezTo>
                <a:cubicBezTo>
                  <a:pt x="1480472" y="2238471"/>
                  <a:pt x="1492140" y="2253632"/>
                  <a:pt x="1536480" y="2257131"/>
                </a:cubicBezTo>
                <a:cubicBezTo>
                  <a:pt x="1592488" y="2261796"/>
                  <a:pt x="1640328" y="2281622"/>
                  <a:pt x="1682334" y="2317776"/>
                </a:cubicBezTo>
                <a:cubicBezTo>
                  <a:pt x="1703338" y="2336436"/>
                  <a:pt x="1725507" y="2351597"/>
                  <a:pt x="1752345" y="2360927"/>
                </a:cubicBezTo>
                <a:cubicBezTo>
                  <a:pt x="1766347" y="2365592"/>
                  <a:pt x="1779182" y="2365592"/>
                  <a:pt x="1790850" y="2355096"/>
                </a:cubicBezTo>
                <a:cubicBezTo>
                  <a:pt x="1801352" y="2345766"/>
                  <a:pt x="1814187" y="2339935"/>
                  <a:pt x="1825855" y="2351597"/>
                </a:cubicBezTo>
                <a:cubicBezTo>
                  <a:pt x="1837524" y="2364426"/>
                  <a:pt x="1824689" y="2373756"/>
                  <a:pt x="1817688" y="2380753"/>
                </a:cubicBezTo>
                <a:cubicBezTo>
                  <a:pt x="1800185" y="2398247"/>
                  <a:pt x="1799018" y="2414575"/>
                  <a:pt x="1807186" y="2436733"/>
                </a:cubicBezTo>
                <a:cubicBezTo>
                  <a:pt x="1822938" y="2481051"/>
                  <a:pt x="1831690" y="2525952"/>
                  <a:pt x="1836065" y="2571290"/>
                </a:cubicBezTo>
                <a:lnTo>
                  <a:pt x="1836900" y="2614907"/>
                </a:lnTo>
                <a:lnTo>
                  <a:pt x="2065106" y="2240082"/>
                </a:lnTo>
                <a:lnTo>
                  <a:pt x="2042723" y="2222711"/>
                </a:lnTo>
                <a:cubicBezTo>
                  <a:pt x="2031161" y="2219109"/>
                  <a:pt x="2018304" y="2219861"/>
                  <a:pt x="2003998" y="2224820"/>
                </a:cubicBezTo>
                <a:cubicBezTo>
                  <a:pt x="1999225" y="2226074"/>
                  <a:pt x="1993324" y="2233326"/>
                  <a:pt x="1989060" y="2226794"/>
                </a:cubicBezTo>
                <a:cubicBezTo>
                  <a:pt x="1984204" y="2220868"/>
                  <a:pt x="1988317" y="2214236"/>
                  <a:pt x="1993035" y="2208195"/>
                </a:cubicBezTo>
                <a:cubicBezTo>
                  <a:pt x="1993627" y="2207589"/>
                  <a:pt x="1994218" y="2206984"/>
                  <a:pt x="1994810" y="2206378"/>
                </a:cubicBezTo>
                <a:cubicBezTo>
                  <a:pt x="2006584" y="2189481"/>
                  <a:pt x="2004067" y="2178739"/>
                  <a:pt x="1985471" y="2174773"/>
                </a:cubicBezTo>
                <a:cubicBezTo>
                  <a:pt x="1968070" y="2170792"/>
                  <a:pt x="1961372" y="2160699"/>
                  <a:pt x="1958208" y="2145776"/>
                </a:cubicBezTo>
                <a:cubicBezTo>
                  <a:pt x="1953793" y="2126080"/>
                  <a:pt x="1946998" y="2107610"/>
                  <a:pt x="1928319" y="2096463"/>
                </a:cubicBezTo>
                <a:cubicBezTo>
                  <a:pt x="1919887" y="2091777"/>
                  <a:pt x="1923367" y="2082160"/>
                  <a:pt x="1926297" y="2076739"/>
                </a:cubicBezTo>
                <a:cubicBezTo>
                  <a:pt x="1936229" y="2055675"/>
                  <a:pt x="1933038" y="2038358"/>
                  <a:pt x="1919077" y="2021171"/>
                </a:cubicBezTo>
                <a:cubicBezTo>
                  <a:pt x="1910576" y="2010500"/>
                  <a:pt x="1912310" y="2005094"/>
                  <a:pt x="1927826" y="2001317"/>
                </a:cubicBezTo>
                <a:cubicBezTo>
                  <a:pt x="1960646" y="1993144"/>
                  <a:pt x="1981142" y="1954000"/>
                  <a:pt x="1968832" y="1924225"/>
                </a:cubicBezTo>
                <a:cubicBezTo>
                  <a:pt x="1966370" y="1918270"/>
                  <a:pt x="1963289" y="1910528"/>
                  <a:pt x="1955517" y="1911219"/>
                </a:cubicBezTo>
                <a:cubicBezTo>
                  <a:pt x="1947745" y="1911911"/>
                  <a:pt x="1940015" y="1916192"/>
                  <a:pt x="1938322" y="1925189"/>
                </a:cubicBezTo>
                <a:cubicBezTo>
                  <a:pt x="1936589" y="1930596"/>
                  <a:pt x="1936066" y="1937185"/>
                  <a:pt x="1934938" y="1943183"/>
                </a:cubicBezTo>
                <a:cubicBezTo>
                  <a:pt x="1934416" y="1949772"/>
                  <a:pt x="1932682" y="1955179"/>
                  <a:pt x="1926093" y="1954660"/>
                </a:cubicBezTo>
                <a:cubicBezTo>
                  <a:pt x="1918308" y="1954154"/>
                  <a:pt x="1917042" y="1948185"/>
                  <a:pt x="1916974" y="1942201"/>
                </a:cubicBezTo>
                <a:cubicBezTo>
                  <a:pt x="1916314" y="1936823"/>
                  <a:pt x="1917442" y="1930825"/>
                  <a:pt x="1917387" y="1926038"/>
                </a:cubicBezTo>
                <a:cubicBezTo>
                  <a:pt x="1917263" y="1915268"/>
                  <a:pt x="1912958" y="1905146"/>
                  <a:pt x="1901582" y="1904684"/>
                </a:cubicBezTo>
                <a:cubicBezTo>
                  <a:pt x="1892009" y="1904798"/>
                  <a:pt x="1890344" y="1916189"/>
                  <a:pt x="1889243" y="1924580"/>
                </a:cubicBezTo>
                <a:cubicBezTo>
                  <a:pt x="1888129" y="1931775"/>
                  <a:pt x="1890619" y="1940123"/>
                  <a:pt x="1887111" y="1947347"/>
                </a:cubicBezTo>
                <a:cubicBezTo>
                  <a:pt x="1882448" y="1958174"/>
                  <a:pt x="1876505" y="1961836"/>
                  <a:pt x="1867413" y="1951772"/>
                </a:cubicBezTo>
                <a:cubicBezTo>
                  <a:pt x="1854690" y="1938160"/>
                  <a:pt x="1849119" y="1922069"/>
                  <a:pt x="1845928" y="1904752"/>
                </a:cubicBezTo>
                <a:cubicBezTo>
                  <a:pt x="1841486" y="1882663"/>
                  <a:pt x="1834814" y="1874963"/>
                  <a:pt x="1812641" y="1872237"/>
                </a:cubicBezTo>
                <a:cubicBezTo>
                  <a:pt x="1804842" y="1870535"/>
                  <a:pt x="1795874" y="1871240"/>
                  <a:pt x="1787497" y="1871341"/>
                </a:cubicBezTo>
                <a:cubicBezTo>
                  <a:pt x="1783906" y="1871384"/>
                  <a:pt x="1779133" y="1872638"/>
                  <a:pt x="1777290" y="1868471"/>
                </a:cubicBezTo>
                <a:cubicBezTo>
                  <a:pt x="1774842" y="1863713"/>
                  <a:pt x="1777194" y="1860094"/>
                  <a:pt x="1780165" y="1858263"/>
                </a:cubicBezTo>
                <a:cubicBezTo>
                  <a:pt x="1793233" y="1849728"/>
                  <a:pt x="1790757" y="1842577"/>
                  <a:pt x="1780482" y="1833723"/>
                </a:cubicBezTo>
                <a:cubicBezTo>
                  <a:pt x="1767786" y="1822505"/>
                  <a:pt x="1767002" y="1806356"/>
                  <a:pt x="1768626" y="1791375"/>
                </a:cubicBezTo>
                <a:cubicBezTo>
                  <a:pt x="1769685" y="1779394"/>
                  <a:pt x="1766040" y="1774650"/>
                  <a:pt x="1754692" y="1776581"/>
                </a:cubicBezTo>
                <a:cubicBezTo>
                  <a:pt x="1748722" y="1777849"/>
                  <a:pt x="1743935" y="1777907"/>
                  <a:pt x="1740276" y="1771966"/>
                </a:cubicBezTo>
                <a:cubicBezTo>
                  <a:pt x="1734802" y="1764252"/>
                  <a:pt x="1740745" y="1760590"/>
                  <a:pt x="1743674" y="1755169"/>
                </a:cubicBezTo>
                <a:cubicBezTo>
                  <a:pt x="1745435" y="1752156"/>
                  <a:pt x="1748393" y="1749128"/>
                  <a:pt x="1750745" y="1745509"/>
                </a:cubicBezTo>
                <a:cubicBezTo>
                  <a:pt x="1764899" y="1727387"/>
                  <a:pt x="1759370" y="1714886"/>
                  <a:pt x="1735986" y="1710977"/>
                </a:cubicBezTo>
                <a:cubicBezTo>
                  <a:pt x="1732988" y="1710414"/>
                  <a:pt x="1730594" y="1710443"/>
                  <a:pt x="1728187" y="1709275"/>
                </a:cubicBezTo>
                <a:cubicBezTo>
                  <a:pt x="1722781" y="1707544"/>
                  <a:pt x="1716757" y="1704026"/>
                  <a:pt x="1717885" y="1698028"/>
                </a:cubicBezTo>
                <a:cubicBezTo>
                  <a:pt x="1718421" y="1692635"/>
                  <a:pt x="1724982" y="1690762"/>
                  <a:pt x="1729769" y="1690704"/>
                </a:cubicBezTo>
                <a:cubicBezTo>
                  <a:pt x="1734556" y="1690647"/>
                  <a:pt x="1738752" y="1691195"/>
                  <a:pt x="1743552" y="1692334"/>
                </a:cubicBezTo>
                <a:cubicBezTo>
                  <a:pt x="1751338" y="1692840"/>
                  <a:pt x="1756097" y="1690389"/>
                  <a:pt x="1757198" y="1681998"/>
                </a:cubicBezTo>
                <a:cubicBezTo>
                  <a:pt x="1760568" y="1662807"/>
                  <a:pt x="1771779" y="1648909"/>
                  <a:pt x="1783595" y="1635602"/>
                </a:cubicBezTo>
                <a:cubicBezTo>
                  <a:pt x="1797172" y="1619281"/>
                  <a:pt x="1814366" y="1605311"/>
                  <a:pt x="1825522" y="1586626"/>
                </a:cubicBezTo>
                <a:cubicBezTo>
                  <a:pt x="1829635" y="1579994"/>
                  <a:pt x="1836224" y="1580513"/>
                  <a:pt x="1841616" y="1581047"/>
                </a:cubicBezTo>
                <a:cubicBezTo>
                  <a:pt x="1859580" y="1582029"/>
                  <a:pt x="1876953" y="1583616"/>
                  <a:pt x="1886898" y="1563748"/>
                </a:cubicBezTo>
                <a:cubicBezTo>
                  <a:pt x="1889251" y="1560130"/>
                  <a:pt x="1893446" y="1560678"/>
                  <a:pt x="1897050" y="1561831"/>
                </a:cubicBezTo>
                <a:cubicBezTo>
                  <a:pt x="1915660" y="1566994"/>
                  <a:pt x="1935991" y="1565554"/>
                  <a:pt x="1955152" y="1566521"/>
                </a:cubicBezTo>
                <a:cubicBezTo>
                  <a:pt x="1984492" y="1567965"/>
                  <a:pt x="2009733" y="1577238"/>
                  <a:pt x="2025592" y="1603380"/>
                </a:cubicBezTo>
                <a:cubicBezTo>
                  <a:pt x="2032291" y="1613473"/>
                  <a:pt x="2042470" y="1613949"/>
                  <a:pt x="2052044" y="1613835"/>
                </a:cubicBezTo>
                <a:cubicBezTo>
                  <a:pt x="2074190" y="1614168"/>
                  <a:pt x="2079650" y="1620685"/>
                  <a:pt x="2076899" y="1641664"/>
                </a:cubicBezTo>
                <a:cubicBezTo>
                  <a:pt x="2072964" y="1663853"/>
                  <a:pt x="2072964" y="1663853"/>
                  <a:pt x="2096926" y="1665960"/>
                </a:cubicBezTo>
                <a:cubicBezTo>
                  <a:pt x="2102318" y="1666494"/>
                  <a:pt x="2106513" y="1667042"/>
                  <a:pt x="2106596" y="1674222"/>
                </a:cubicBezTo>
                <a:cubicBezTo>
                  <a:pt x="2108686" y="1699930"/>
                  <a:pt x="2111960" y="1724427"/>
                  <a:pt x="2112853" y="1750149"/>
                </a:cubicBezTo>
                <a:cubicBezTo>
                  <a:pt x="2114270" y="1769283"/>
                  <a:pt x="2109688" y="1787291"/>
                  <a:pt x="2099702" y="1803568"/>
                </a:cubicBezTo>
                <a:cubicBezTo>
                  <a:pt x="2093842" y="1814411"/>
                  <a:pt x="2099659" y="1852042"/>
                  <a:pt x="2108146" y="1861516"/>
                </a:cubicBezTo>
                <a:cubicBezTo>
                  <a:pt x="2111172" y="1864472"/>
                  <a:pt x="2113593" y="1866837"/>
                  <a:pt x="2118353" y="1864386"/>
                </a:cubicBezTo>
                <a:cubicBezTo>
                  <a:pt x="2145162" y="1853891"/>
                  <a:pt x="2170375" y="1860771"/>
                  <a:pt x="2195616" y="1870044"/>
                </a:cubicBezTo>
                <a:cubicBezTo>
                  <a:pt x="2201022" y="1871774"/>
                  <a:pt x="2205231" y="1873519"/>
                  <a:pt x="2210032" y="1874658"/>
                </a:cubicBezTo>
                <a:cubicBezTo>
                  <a:pt x="2225630" y="1878062"/>
                  <a:pt x="2237061" y="1883311"/>
                  <a:pt x="2245025" y="1899374"/>
                </a:cubicBezTo>
                <a:lnTo>
                  <a:pt x="2262548" y="1915785"/>
                </a:lnTo>
                <a:lnTo>
                  <a:pt x="3291650" y="225494"/>
                </a:lnTo>
                <a:lnTo>
                  <a:pt x="3646505" y="225494"/>
                </a:lnTo>
                <a:lnTo>
                  <a:pt x="3643558" y="219709"/>
                </a:lnTo>
                <a:cubicBezTo>
                  <a:pt x="3617161" y="181987"/>
                  <a:pt x="3647329" y="151808"/>
                  <a:pt x="3654871" y="121630"/>
                </a:cubicBezTo>
                <a:cubicBezTo>
                  <a:pt x="3669955" y="72590"/>
                  <a:pt x="3711437" y="68817"/>
                  <a:pt x="3752918" y="98996"/>
                </a:cubicBezTo>
                <a:cubicBezTo>
                  <a:pt x="3760460" y="102768"/>
                  <a:pt x="3764231" y="110313"/>
                  <a:pt x="3771774" y="106540"/>
                </a:cubicBezTo>
                <a:cubicBezTo>
                  <a:pt x="3798171" y="83907"/>
                  <a:pt x="3828339" y="87679"/>
                  <a:pt x="3858507" y="87679"/>
                </a:cubicBezTo>
                <a:cubicBezTo>
                  <a:pt x="3892447" y="42411"/>
                  <a:pt x="3933928" y="65045"/>
                  <a:pt x="3971639" y="80134"/>
                </a:cubicBezTo>
                <a:cubicBezTo>
                  <a:pt x="4031975" y="110313"/>
                  <a:pt x="4084770" y="102768"/>
                  <a:pt x="4137564" y="72590"/>
                </a:cubicBezTo>
                <a:cubicBezTo>
                  <a:pt x="4167733" y="53728"/>
                  <a:pt x="4190359" y="53728"/>
                  <a:pt x="4216756" y="72590"/>
                </a:cubicBezTo>
                <a:cubicBezTo>
                  <a:pt x="4216756" y="76362"/>
                  <a:pt x="4220527" y="76362"/>
                  <a:pt x="4220527" y="76362"/>
                </a:cubicBezTo>
                <a:cubicBezTo>
                  <a:pt x="4269551" y="106540"/>
                  <a:pt x="4273322" y="102768"/>
                  <a:pt x="4307261" y="57500"/>
                </a:cubicBezTo>
                <a:cubicBezTo>
                  <a:pt x="4322345" y="42411"/>
                  <a:pt x="4337430" y="27322"/>
                  <a:pt x="4360056" y="12233"/>
                </a:cubicBezTo>
                <a:cubicBezTo>
                  <a:pt x="4382682" y="916"/>
                  <a:pt x="4401537" y="916"/>
                  <a:pt x="4427934" y="16005"/>
                </a:cubicBezTo>
                <a:cubicBezTo>
                  <a:pt x="4488271" y="61273"/>
                  <a:pt x="4495813" y="61273"/>
                  <a:pt x="4556150" y="16005"/>
                </a:cubicBezTo>
                <a:cubicBezTo>
                  <a:pt x="4567463" y="7517"/>
                  <a:pt x="4574534" y="-970"/>
                  <a:pt x="4585316" y="9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/>
          <p:cNvSpPr>
            <a:spLocks noGrp="1"/>
          </p:cNvSpPr>
          <p:nvPr>
            <p:ph type="pic" sz="quarter" idx="41" hasCustomPrompt="1"/>
          </p:nvPr>
        </p:nvSpPr>
        <p:spPr>
          <a:xfrm>
            <a:off x="5334000" y="0"/>
            <a:ext cx="6858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>
            <a:spLocks noChangeAspect="1"/>
          </p:cNvSpPr>
          <p:nvPr userDrawn="1"/>
        </p:nvSpPr>
        <p:spPr>
          <a:xfrm>
            <a:off x="7119313" y="5067541"/>
            <a:ext cx="4297680" cy="4353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" name="Rectangle 2"/>
          <p:cNvSpPr/>
          <p:nvPr userDrawn="1"/>
        </p:nvSpPr>
        <p:spPr>
          <a:xfrm>
            <a:off x="0" y="1988840"/>
            <a:ext cx="12192000" cy="2880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grpSp>
        <p:nvGrpSpPr>
          <p:cNvPr id="5" name="Graphic 14"/>
          <p:cNvGrpSpPr/>
          <p:nvPr userDrawn="1"/>
        </p:nvGrpSpPr>
        <p:grpSpPr>
          <a:xfrm>
            <a:off x="6867308" y="1360224"/>
            <a:ext cx="4999344" cy="3932069"/>
            <a:chOff x="2444748" y="555045"/>
            <a:chExt cx="7282048" cy="5727454"/>
          </a:xfrm>
        </p:grpSpPr>
        <p:sp>
          <p:nvSpPr>
            <p:cNvPr id="6" name="Freeform: Shape 5"/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/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/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/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/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-1" fmla="*/ 2536444 w 3976489"/>
                <a:gd name="connsiteY0-2" fmla="*/ 0 h 4238316"/>
                <a:gd name="connsiteX1-3" fmla="*/ 3976489 w 3976489"/>
                <a:gd name="connsiteY1-4" fmla="*/ 241371 h 4238316"/>
                <a:gd name="connsiteX2-5" fmla="*/ 3968307 w 3976489"/>
                <a:gd name="connsiteY2-6" fmla="*/ 4238316 h 4238316"/>
                <a:gd name="connsiteX3-7" fmla="*/ 0 w 3976489"/>
                <a:gd name="connsiteY3-8" fmla="*/ 4238316 h 4238316"/>
                <a:gd name="connsiteX0-9" fmla="*/ 2536444 w 3976489"/>
                <a:gd name="connsiteY0-10" fmla="*/ 0 h 4238316"/>
                <a:gd name="connsiteX1-11" fmla="*/ 3976489 w 3976489"/>
                <a:gd name="connsiteY1-12" fmla="*/ 213683 h 4238316"/>
                <a:gd name="connsiteX2-13" fmla="*/ 3968307 w 3976489"/>
                <a:gd name="connsiteY2-14" fmla="*/ 4238316 h 4238316"/>
                <a:gd name="connsiteX3-15" fmla="*/ 0 w 3976489"/>
                <a:gd name="connsiteY3-16" fmla="*/ 4238316 h 4238316"/>
                <a:gd name="connsiteX0-17" fmla="*/ 2473335 w 3976489"/>
                <a:gd name="connsiteY0-18" fmla="*/ 0 h 4035268"/>
                <a:gd name="connsiteX1-19" fmla="*/ 3976489 w 3976489"/>
                <a:gd name="connsiteY1-20" fmla="*/ 10635 h 4035268"/>
                <a:gd name="connsiteX2-21" fmla="*/ 3968307 w 3976489"/>
                <a:gd name="connsiteY2-22" fmla="*/ 4035268 h 4035268"/>
                <a:gd name="connsiteX3-23" fmla="*/ 0 w 3976489"/>
                <a:gd name="connsiteY3-24" fmla="*/ 4035268 h 403526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7103893" y="1624176"/>
            <a:ext cx="4580042" cy="258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6695" y="83185"/>
            <a:ext cx="8418195" cy="798830"/>
          </a:xfrm>
        </p:spPr>
        <p:txBody>
          <a:bodyPr anchor="b" anchorCtr="0"/>
          <a:lstStyle>
            <a:lvl1pPr algn="l">
              <a:defRPr sz="3200" b="1" u="none" strike="noStrike" kern="1200" cap="none" spc="0" normalizeH="0">
                <a:solidFill>
                  <a:schemeClr val="tx1"/>
                </a:solidFill>
                <a:uFillTx/>
                <a:latin typeface="Arial" panose="020B0604020202020204" pitchFamily="34" charset="0"/>
                <a:ea typeface="Microsoft YaHei" panose="020B050302020402020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677"/>
            <a:ext cx="2844800" cy="365144"/>
          </a:xfrm>
        </p:spPr>
        <p:txBody>
          <a:bodyPr/>
          <a:lstStyle/>
          <a:p>
            <a:fld id="{8E04AE3E-DBD5-49D2-98CA-187996EF884A}" type="datetime1">
              <a:rPr lang="zh-CN" altLang="en-US" smtClean="0"/>
              <a:t>2023/10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677"/>
            <a:ext cx="3860800" cy="365144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93095" y="904185"/>
            <a:ext cx="12000000" cy="1588"/>
          </a:xfrm>
          <a:prstGeom prst="line">
            <a:avLst/>
          </a:prstGeom>
          <a:ln>
            <a:prstDash val="soli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그림 개체 틀 12"/>
          <p:cNvSpPr>
            <a:spLocks noGrp="1"/>
          </p:cNvSpPr>
          <p:nvPr>
            <p:ph type="pic" sz="quarter" idx="10" hasCustomPrompt="1"/>
          </p:nvPr>
        </p:nvSpPr>
        <p:spPr>
          <a:xfrm>
            <a:off x="799070" y="1223317"/>
            <a:ext cx="5441094" cy="4721980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1400"/>
            </a:lvl1pPr>
          </a:lstStyle>
          <a:p>
            <a:r>
              <a:rPr lang="en-US" altLang="ko-KR" dirty="0"/>
              <a:t>Your Picture Here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44297" y="553701"/>
            <a:ext cx="3387405" cy="28086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8064908" y="3488723"/>
            <a:ext cx="3387405" cy="28086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Rectangle 1"/>
          <p:cNvSpPr/>
          <p:nvPr userDrawn="1"/>
        </p:nvSpPr>
        <p:spPr>
          <a:xfrm>
            <a:off x="8064908" y="553701"/>
            <a:ext cx="3387405" cy="280831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8" name="Rectangle 8"/>
          <p:cNvSpPr/>
          <p:nvPr userDrawn="1"/>
        </p:nvSpPr>
        <p:spPr>
          <a:xfrm>
            <a:off x="4544297" y="3489035"/>
            <a:ext cx="3387405" cy="280831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s and Content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11516" y="216000"/>
            <a:ext cx="5228944" cy="642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2" name="직사각형 1"/>
          <p:cNvSpPr/>
          <p:nvPr userDrawn="1"/>
        </p:nvSpPr>
        <p:spPr>
          <a:xfrm>
            <a:off x="0" y="0"/>
            <a:ext cx="21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/>
          <p:cNvSpPr/>
          <p:nvPr userDrawn="1"/>
        </p:nvSpPr>
        <p:spPr>
          <a:xfrm>
            <a:off x="11976000" y="0"/>
            <a:ext cx="21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 userDrawn="1"/>
        </p:nvSpPr>
        <p:spPr>
          <a:xfrm>
            <a:off x="0" y="0"/>
            <a:ext cx="12192000" cy="2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 userDrawn="1"/>
        </p:nvSpPr>
        <p:spPr>
          <a:xfrm>
            <a:off x="0" y="6642000"/>
            <a:ext cx="12192000" cy="2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24539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/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PPT TEMPLATES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433" tIns="45717" rIns="91433" bIns="45717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2" descr="Asia Pulp &amp; Paper 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692150"/>
            <a:ext cx="281353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574892" y="692249"/>
            <a:ext cx="2055877" cy="663994"/>
          </a:xfrm>
          <a:prstGeom prst="rect">
            <a:avLst/>
          </a:prstGeom>
        </p:spPr>
        <p:txBody>
          <a:bodyPr lIns="89993" tIns="89993" rIns="89993" bIns="89993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1547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E10A0-493A-8B91-786E-93A8FC7A9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824114-F68D-8F29-90BA-F588D92F30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B7713-D484-08DE-6F0A-BB2815842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3974C-6600-9CA6-8299-2D9D5AC07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D188BB-95D6-A615-6CE8-C365C9698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225149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FD1B5-210A-7BD4-910A-F8C721E6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687AB-AC6A-FF27-F640-7418EC5574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566B89-BADD-EEF3-FF9D-2786A2D15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C5F91-2C19-8D45-716B-28EE0B3C2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3426D2-EB24-E8B8-8278-740092F98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854926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327CF-4C87-DE8A-CFBE-2B1371B57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F0C638-DCD4-0797-0D1D-2E469FEE8A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DCE7DB-3704-85FC-E210-2C77D2ACE0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1923FF-68F0-C69B-5D4B-1C7055C0F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274D59-1A07-4973-FD12-60F60CDB2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748054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64C67-9367-8538-523E-C7175D945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8D0D7D-ECD9-ED3F-0553-2B5AD27CA2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E7DFFC-9405-280D-37EA-0490CA9C50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CB3B7-8FD6-5B4D-AD8C-3998904D6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C288EB-2D84-C2A5-8976-CC8C1DDD3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5B6397-DE8E-205B-233F-55CD61F3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670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3CDE4-1350-23C4-1576-9BE7CC1F4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832F45-8C13-878E-70F6-198EEB6DA1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11A613-CA78-7E4E-EE21-40E8B924AD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DC8E50-80FA-1862-28EA-50FA907FEC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70D9F2-3AD4-EBC3-3D93-8BA0DAF26A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A48C64-5BA2-CD11-A7EF-DF987BDD1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4A04DB-3DF6-926E-7313-AE0AB1217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1E2CE0-BC63-C692-5119-FD9444412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069633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8A44C-4CEE-6FA4-C4A3-CACAEBA89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36926E-E2AB-34F2-8571-6F4D1F55A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A33241-5FCD-4203-8732-57A1055D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48BE3-E62F-F257-CF9E-BB065C655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716487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7D22C0-333F-3079-7BC9-24B0A6E8E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1C384F-84B0-3D26-A6C3-6F4540BC5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B7D934-5A52-5651-AEEF-8F4A01404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527136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CDBE62-7523-1160-A2EB-25481B928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CC7DA8-0519-221E-B998-5F9FBE1222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906547-A54F-65E9-9240-BD0C04A609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21A68E-5E18-DB37-C2D9-DF883E987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AA6B08-C20F-7642-7880-B445386EB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4F8217-C9CD-40EA-83EE-45CD8A267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457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71A58-D239-1FA0-F75F-987974C43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5D2C1C3-C10C-66CE-DE4A-68AFD3DA74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EA63BD-A5EB-87D3-D3BB-D63217764A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A89CBE-08CD-EAB2-69FE-3E96AA387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E258EE-2D3C-B003-5A15-3C893862C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2E6064-EC92-F298-6BF6-24ADE6AE0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637574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0AD36-AD59-C581-8C4A-2856906EE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3D266B-6063-A6C1-D4F7-52BB36F527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EA74A7-29B1-7374-ECD6-ED1053296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C137EB-F590-682A-3B35-C1A895D39F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299EF0-D5FD-B2BC-16E6-76B2B5ABF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058261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F5C78FF-3892-E1B8-9E60-D8988FD096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55467E-9540-D148-3B33-E5AB6FCA5B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BC853D-ED84-F1DD-D962-584C84EE9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D48ADA-5D6A-9A37-1946-DC01F0DE0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08A4EC-C9FA-3F74-787B-CDBB29401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837D9-E8A1-4B76-A2B4-80124813F68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611201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12192000" cy="1800225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</a:ln>
        </p:spPr>
        <p:txBody>
          <a:bodyPr wrap="none" lIns="91433" tIns="45717" rIns="91433" bIns="45717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2" descr="Asia Pulp &amp; Paper logo.jp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692150"/>
            <a:ext cx="281353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574892" y="692249"/>
            <a:ext cx="2055877" cy="663994"/>
          </a:xfrm>
          <a:prstGeom prst="rect">
            <a:avLst/>
          </a:prstGeom>
        </p:spPr>
        <p:txBody>
          <a:bodyPr lIns="89993" tIns="89993" rIns="89993" bIns="89993" anchor="ctr"/>
          <a:lstStyle>
            <a:lvl1pPr algn="ctr">
              <a:defRPr sz="1400" b="0" baseline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7234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/>
          <p:nvPr userDrawn="1"/>
        </p:nvSpPr>
        <p:spPr bwMode="auto">
          <a:xfrm>
            <a:off x="484450" y="3209926"/>
            <a:ext cx="11254154" cy="606701"/>
          </a:xfrm>
          <a:prstGeom prst="rect">
            <a:avLst/>
          </a:prstGeom>
          <a:solidFill>
            <a:srgbClr val="D44949"/>
          </a:solidFill>
          <a:ln>
            <a:noFill/>
          </a:ln>
        </p:spPr>
        <p:txBody>
          <a:bodyPr vert="horz" wrap="square" lIns="0" tIns="45720" rIns="0" bIns="45720" numCol="1" anchor="ctr" anchorCtr="0" compatLnSpc="1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450" y="3209925"/>
            <a:ext cx="11254154" cy="606701"/>
          </a:xfrm>
          <a:solidFill>
            <a:srgbClr val="C41300"/>
          </a:solidFill>
        </p:spPr>
        <p:txBody>
          <a:bodyPr anchor="ctr" anchorCtr="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parator: New Subject / Thank You</a:t>
            </a:r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iner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7.bin"/><Relationship Id="rId5" Type="http://schemas.openxmlformats.org/officeDocument/2006/relationships/tags" Target="../tags/tag13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5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4" imgW="12700" imgH="12700" progId="TCLayout.ActiveDocument.1">
                  <p:embed/>
                </p:oleObj>
              </mc:Choice>
              <mc:Fallback>
                <p:oleObj r:id="rId14" imgW="12700" imgH="12700" progId="TCLayout.ActiveDocument.1">
                  <p:embed/>
                  <p:pic>
                    <p:nvPicPr>
                      <p:cNvPr id="0" name="Object 1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 fontAlgn="base"/>
            <a:endParaRPr lang="en-US" sz="2400" b="1" i="0" strike="noStrike" baseline="0" noProof="1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Line 115"/>
          <p:cNvSpPr/>
          <p:nvPr userDrawn="1"/>
        </p:nvSpPr>
        <p:spPr>
          <a:xfrm flipH="1">
            <a:off x="0" y="628650"/>
            <a:ext cx="12192000" cy="0"/>
          </a:xfrm>
          <a:prstGeom prst="line">
            <a:avLst/>
          </a:prstGeom>
          <a:ln w="28575" cap="flat" cmpd="sng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rgbClr val="FF0000"/>
            </a:outerShdw>
          </a:effectLst>
        </p:spPr>
        <p:txBody>
          <a:bodyPr anchor="t"/>
          <a:lstStyle/>
          <a:p>
            <a:pPr lvl="0"/>
            <a:endParaRPr lang="en-US" altLang="zh-CN" sz="1800"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1029" name="Text Placeholder 12"/>
          <p:cNvSpPr>
            <a:spLocks noGrp="1"/>
          </p:cNvSpPr>
          <p:nvPr>
            <p:ph type="body"/>
          </p:nvPr>
        </p:nvSpPr>
        <p:spPr>
          <a:xfrm>
            <a:off x="280988" y="1508125"/>
            <a:ext cx="11630025" cy="459105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anchor="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 indent="-171450"/>
            <a:r>
              <a:rPr lang="en-US" altLang="zh-CN"/>
              <a:t>Second level</a:t>
            </a:r>
          </a:p>
          <a:p>
            <a:pPr lvl="2" indent="-171450"/>
            <a:r>
              <a:rPr lang="en-US" altLang="zh-CN"/>
              <a:t>Third level</a:t>
            </a:r>
          </a:p>
          <a:p>
            <a:pPr lvl="3" indent="-175260"/>
            <a:r>
              <a:rPr lang="en-US" altLang="zh-CN"/>
              <a:t>Fourth level</a:t>
            </a:r>
          </a:p>
          <a:p>
            <a:pPr lvl="4" indent="-172720"/>
            <a:r>
              <a:rPr lang="en-US" altLang="zh-CN"/>
              <a:t>Fifth level</a:t>
            </a:r>
          </a:p>
        </p:txBody>
      </p:sp>
      <p:sp>
        <p:nvSpPr>
          <p:cNvPr id="1031" name="Title Placeholder 1"/>
          <p:cNvSpPr>
            <a:spLocks noGrp="1"/>
          </p:cNvSpPr>
          <p:nvPr>
            <p:ph type="title"/>
          </p:nvPr>
        </p:nvSpPr>
        <p:spPr>
          <a:xfrm>
            <a:off x="280988" y="90805"/>
            <a:ext cx="10875962" cy="4921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marR="0" algn="l" defTabSz="6858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defRPr kumimoji="0" lang="en-US" altLang="zh-CN" sz="3200" b="1" i="0" u="none" strike="noStrike" kern="1200" cap="none" spc="0" normalizeH="0" baseline="0" noProof="1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Microsoft YaHei" panose="020B0503020204020204" charset="-122"/>
                <a:cs typeface="+mj-cs"/>
              </a:defRPr>
            </a:lvl1pPr>
          </a:lstStyle>
          <a:p>
            <a:pPr lvl="0"/>
            <a:r>
              <a:rPr>
                <a:sym typeface="+mn-ea"/>
              </a:rPr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3163" y="6535738"/>
            <a:ext cx="858838" cy="365125"/>
          </a:xfrm>
          <a:prstGeom prst="rect">
            <a:avLst/>
          </a:prstGeom>
        </p:spPr>
        <p:txBody>
          <a:bodyPr/>
          <a:lstStyle>
            <a:lvl1pPr algn="r"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/>
            <a:fld id="{BD5C96BA-F34F-46FC-BC5C-CE8B317285D1}" type="slidenum">
              <a:rPr lang="en-ID" strike="noStrike" noProof="1" smtClean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‹#›</a:t>
            </a:fld>
            <a:endParaRPr lang="en-ID" strike="noStrike" noProof="1"/>
          </a:p>
        </p:txBody>
      </p:sp>
      <p:pic>
        <p:nvPicPr>
          <p:cNvPr id="4" name="图片 2" descr="APP logo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588150" y="4286"/>
            <a:ext cx="1507331" cy="5900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706" r:id="rId10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ct val="58000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ct val="58000"/>
        </a:spcBef>
        <a:buClr>
          <a:srgbClr val="76000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ct val="58000"/>
        </a:spcBef>
        <a:buClr>
          <a:srgbClr val="76000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510" indent="-174625" algn="l" defTabSz="685800" rtl="0" eaLnBrk="1" latinLnBrk="0" hangingPunct="1">
        <a:spcBef>
          <a:spcPct val="58000"/>
        </a:spcBef>
        <a:buClr>
          <a:srgbClr val="76000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320" indent="-172720" algn="l" defTabSz="685800" rtl="0" eaLnBrk="1" latinLnBrk="0" hangingPunct="1">
        <a:spcBef>
          <a:spcPct val="58000"/>
        </a:spcBef>
        <a:buClr>
          <a:srgbClr val="76000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15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15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15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15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11"/>
          <p:cNvGraphicFramePr>
            <a:graphicFrameLocks noChangeAspect="1"/>
          </p:cNvGraphicFramePr>
          <p:nvPr/>
        </p:nvGraphicFramePr>
        <p:xfrm>
          <a:off x="2122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0" name="Object 1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203200" y="71437"/>
            <a:ext cx="10363200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5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04800" y="990601"/>
            <a:ext cx="11582400" cy="55784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2" descr="C:\Users\01134024\Desktop\Brand Comms\Logo &amp; Corporate Identity\Logo\APP Sinar Mas - PNG file\APP Logo_Full Colour.png"/>
          <p:cNvPicPr>
            <a:picLocks noChangeAspect="1" noChangeArrowheads="1"/>
          </p:cNvPicPr>
          <p:nvPr userDrawn="1"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10896600" y="66195"/>
            <a:ext cx="1238259" cy="467205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11794774" y="6667179"/>
            <a:ext cx="194027" cy="190821"/>
          </a:xfrm>
          <a:prstGeom prst="rect">
            <a:avLst/>
          </a:prstGeom>
          <a:noFill/>
          <a:effectLst/>
        </p:spPr>
        <p:txBody>
          <a:bodyPr wrap="none" lIns="18288" tIns="18288" rIns="18288" bIns="18288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4452999-B225-4C19-8B3E-B7D8A99F4F25}" type="slidenum">
              <a:rPr lang="en-US" sz="1000" smtClean="0">
                <a:solidFill>
                  <a:srgbClr val="000000"/>
                </a:solidFill>
                <a:latin typeface="+mn-lt"/>
                <a:cs typeface="+mn-cs"/>
              </a:rPr>
              <a:t>‹#›</a:t>
            </a:fld>
            <a:endParaRPr lang="en-US" sz="100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" name="Rectangle 2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390057" y="6667179"/>
            <a:ext cx="1963743" cy="190821"/>
          </a:xfrm>
          <a:prstGeom prst="rect">
            <a:avLst/>
          </a:prstGeom>
          <a:noFill/>
          <a:ln w="12700" algn="ctr">
            <a:noFill/>
            <a:miter lim="800000"/>
          </a:ln>
        </p:spPr>
        <p:txBody>
          <a:bodyPr wrap="none" lIns="18288" tIns="18288" rIns="18288" bIns="18288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>
                <a:solidFill>
                  <a:srgbClr val="C00000"/>
                </a:solidFill>
                <a:latin typeface="+mn-lt"/>
              </a:rPr>
              <a:t>Confidential – for 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39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fontAlgn="base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fontAlgn="base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045" indent="-231775" algn="l" rtl="0" fontAlgn="base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670" indent="-229870" algn="l" rtl="0" fontAlgn="base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085"/>
          <p:cNvGraphicFramePr>
            <a:graphicFrameLocks noChangeAspect="1"/>
          </p:cNvGraphicFramePr>
          <p:nvPr/>
        </p:nvGraphicFramePr>
        <p:xfrm>
          <a:off x="1629" y="1589"/>
          <a:ext cx="162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0" name="Object 10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9" y="1589"/>
                        <a:ext cx="162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Line 115"/>
          <p:cNvSpPr>
            <a:spLocks noChangeShapeType="1"/>
          </p:cNvSpPr>
          <p:nvPr/>
        </p:nvSpPr>
        <p:spPr bwMode="auto">
          <a:xfrm flipH="1">
            <a:off x="0" y="647700"/>
            <a:ext cx="12192000" cy="0"/>
          </a:xfrm>
          <a:prstGeom prst="line">
            <a:avLst/>
          </a:prstGeom>
          <a:noFill/>
          <a:ln w="28575">
            <a:solidFill>
              <a:srgbClr val="C41300"/>
            </a:solidFill>
            <a:round/>
          </a:ln>
          <a:effectLst>
            <a:outerShdw dist="25400" dir="5400000" algn="ctr" rotWithShape="0">
              <a:srgbClr val="FF0000"/>
            </a:outerShdw>
          </a:effectLst>
        </p:spPr>
        <p:txBody>
          <a:bodyPr lIns="91346" tIns="45672" rIns="91346" bIns="45672"/>
          <a:lstStyle/>
          <a:p>
            <a:pPr>
              <a:defRPr/>
            </a:pPr>
            <a:endParaRPr lang="en-US" sz="1800"/>
          </a:p>
        </p:txBody>
      </p:sp>
      <p:sp>
        <p:nvSpPr>
          <p:cNvPr id="10" name="TextBox 9"/>
          <p:cNvSpPr txBox="1"/>
          <p:nvPr/>
        </p:nvSpPr>
        <p:spPr>
          <a:xfrm>
            <a:off x="11571654" y="6553200"/>
            <a:ext cx="508000" cy="228600"/>
          </a:xfrm>
          <a:prstGeom prst="rect">
            <a:avLst/>
          </a:prstGeom>
          <a:noFill/>
          <a:effectLst/>
        </p:spPr>
        <p:txBody>
          <a:bodyPr wrap="none" lIns="9135" tIns="9135" rIns="9135" bIns="9135" anchor="ctr"/>
          <a:lstStyle/>
          <a:p>
            <a:pPr algn="r" eaLnBrk="1" hangingPunct="1">
              <a:defRPr/>
            </a:pPr>
            <a:fld id="{8EC381F8-1618-4C4D-AC96-AA4F2FD40523}" type="slidenum">
              <a:rPr lang="en-US" altLang="en-US" sz="1000">
                <a:solidFill>
                  <a:srgbClr val="000000"/>
                </a:solidFill>
              </a:rPr>
              <a:t>‹#›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pic>
        <p:nvPicPr>
          <p:cNvPr id="1030" name="Picture 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707077" y="41276"/>
            <a:ext cx="1406769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hf hdr="0" ftr="0" dt="0"/>
  <p:txStyles>
    <p:titleStyle>
      <a:lvl1pPr algn="l" defTabSz="91313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2pPr>
      <a:lvl3pPr algn="l" defTabSz="91313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3pPr>
      <a:lvl4pPr algn="l" defTabSz="91313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4pPr>
      <a:lvl5pPr algn="l" defTabSz="91313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5pPr>
      <a:lvl6pPr marL="457200" algn="l" defTabSz="91313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6pPr>
      <a:lvl7pPr marL="914400" algn="l" defTabSz="91313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7pPr>
      <a:lvl8pPr marL="1371600" algn="l" defTabSz="91313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8pPr>
      <a:lvl9pPr marL="1828800" algn="l" defTabSz="91313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defTabSz="913130" rtl="0" eaLnBrk="0" fontAlgn="base" hangingPunct="0">
        <a:spcBef>
          <a:spcPts val="390"/>
        </a:spcBef>
        <a:spcAft>
          <a:spcPct val="0"/>
        </a:spcAft>
        <a:buChar char="•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5930" indent="-227330" algn="l" defTabSz="913130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0" indent="-227330" algn="l" defTabSz="913130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775" indent="-231775" algn="l" defTabSz="913130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130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06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62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9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39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6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22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9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7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963275" y="6350000"/>
            <a:ext cx="12192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/>
          <a:lstStyle>
            <a:lvl1pPr algn="ctr" eaLnBrk="1" latinLnBrk="1" hangingPunct="1">
              <a:buFont typeface="Arial" panose="020B0604020202020204" pitchFamily="34" charset="0"/>
              <a:buNone/>
              <a:defRPr sz="1000" b="1">
                <a:latin typeface="Calibri" panose="020F0502020204030204" pitchFamily="34" charset="0"/>
                <a:ea typeface="굴림" panose="020B0600000101010101" pitchFamily="34" charset="-127"/>
                <a:sym typeface="Calibri" panose="020F0502020204030204" pitchFamily="34" charset="0"/>
              </a:defRPr>
            </a:lvl1pPr>
          </a:lstStyle>
          <a:p>
            <a:r>
              <a:rPr lang="en-US" altLang="en-US"/>
              <a:t>Page </a:t>
            </a:r>
            <a:fld id="{F3D36D52-58A9-4C4E-BF2D-D4D2871E33F8}" type="slidenum">
              <a:rPr lang="en-US" altLang="en-US"/>
              <a:t>‹#›</a:t>
            </a:fld>
            <a:endParaRPr lang="en-US" altLang="en-US" sz="1800" b="0"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pic>
        <p:nvPicPr>
          <p:cNvPr id="1027" name="Picture 2" descr="Asia Pulp &amp;amp; Paper - Wikipedia bahasa Indonesia, ensiklopedia bebas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8063" y="196850"/>
            <a:ext cx="8096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1"/>
          <p:cNvSpPr>
            <a:spLocks noChangeArrowheads="1"/>
          </p:cNvSpPr>
          <p:nvPr userDrawn="1"/>
        </p:nvSpPr>
        <p:spPr bwMode="auto">
          <a:xfrm>
            <a:off x="58738" y="508000"/>
            <a:ext cx="4430712" cy="46038"/>
          </a:xfrm>
          <a:prstGeom prst="rect">
            <a:avLst/>
          </a:prstGeom>
          <a:solidFill>
            <a:srgbClr val="FF89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endParaRPr lang="en-US" altLang="en-US"/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auto">
          <a:xfrm>
            <a:off x="4560888" y="508000"/>
            <a:ext cx="6480175" cy="46038"/>
          </a:xfrm>
          <a:prstGeom prst="rect">
            <a:avLst/>
          </a:prstGeom>
          <a:solidFill>
            <a:srgbClr val="FF5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endParaRPr lang="en-US" altLang="en-US"/>
          </a:p>
        </p:txBody>
      </p:sp>
      <p:sp>
        <p:nvSpPr>
          <p:cNvPr id="2" name="TextBox 1"/>
          <p:cNvSpPr>
            <a:spLocks noChangeArrowheads="1"/>
          </p:cNvSpPr>
          <p:nvPr/>
        </p:nvSpPr>
        <p:spPr bwMode="auto">
          <a:xfrm>
            <a:off x="58738" y="6543675"/>
            <a:ext cx="1924050" cy="292100"/>
          </a:xfrm>
          <a:prstGeom prst="rect">
            <a:avLst/>
          </a:prstGeom>
          <a:noFill/>
          <a:ln>
            <a:noFill/>
          </a:ln>
        </p:spPr>
        <p:txBody>
          <a:bodyPr wrap="none" lIns="9144" tIns="9144" rIns="9144" bIns="9144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US" altLang="en-US" dirty="0">
                <a:latin typeface="Rage Italic" panose="03070502040507070304" pitchFamily="66" charset="0"/>
                <a:sym typeface="Rage Italic" panose="03070502040507070304" pitchFamily="66" charset="0"/>
              </a:rPr>
              <a:t>Growing Our Tomorrow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</p:sldLayoutIdLst>
  <p:transition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  <a:sym typeface="Times New Roman" panose="02020603050405020304" pitchFamily="18" charset="0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5pPr>
      <a:lvl6pPr marL="457200"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6pPr>
      <a:lvl7pPr marL="914400"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7pPr>
      <a:lvl8pPr marL="1371600"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8pPr>
      <a:lvl9pPr marL="1828800"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  <a:ea typeface="굴림" panose="020B0600000101010101" pitchFamily="34" charset="-127"/>
          <a:sym typeface="Times New Roman" panose="02020603050405020304" pitchFamily="18" charset="0"/>
        </a:defRPr>
      </a:lvl9pPr>
    </p:titleStyle>
    <p:bodyStyle>
      <a:lvl1pPr marL="342900" indent="-342900" algn="l" defTabSz="0" rtl="0" eaLnBrk="0" fontAlgn="base" latinLnBrk="1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  <a:sym typeface="Times New Roman" panose="02020603050405020304" pitchFamily="18" charset="0"/>
        </a:defRPr>
      </a:lvl1pPr>
      <a:lvl2pPr marL="742950" indent="-285750" algn="l" defTabSz="0" rtl="0" eaLnBrk="0" fontAlgn="base" latinLnBrk="1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  <a:sym typeface="Times New Roman" panose="02020603050405020304" pitchFamily="18" charset="0"/>
        </a:defRPr>
      </a:lvl2pPr>
      <a:lvl3pPr marL="1143000" indent="-228600" algn="l" defTabSz="0" rtl="0" eaLnBrk="0" fontAlgn="base" latinLnBrk="1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  <a:sym typeface="Times New Roman" panose="02020603050405020304" pitchFamily="18" charset="0"/>
        </a:defRPr>
      </a:lvl3pPr>
      <a:lvl4pPr marL="1600200" indent="-228600" algn="l" defTabSz="0" rtl="0" eaLnBrk="0" fontAlgn="base" latinLnBrk="1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  <a:sym typeface="Times New Roman" panose="02020603050405020304" pitchFamily="18" charset="0"/>
        </a:defRPr>
      </a:lvl4pPr>
      <a:lvl5pPr marL="2057400" indent="-228600" algn="l" defTabSz="0" rtl="0" eaLnBrk="0" fontAlgn="base" latinLnBrk="1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Times New Roman" panose="02020603050405020304" pitchFamily="18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2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Object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03200" y="0"/>
            <a:ext cx="103632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Line 115"/>
          <p:cNvSpPr>
            <a:spLocks noChangeShapeType="1"/>
          </p:cNvSpPr>
          <p:nvPr/>
        </p:nvSpPr>
        <p:spPr bwMode="auto">
          <a:xfrm flipH="1">
            <a:off x="0" y="762000"/>
            <a:ext cx="12192000" cy="0"/>
          </a:xfrm>
          <a:prstGeom prst="line">
            <a:avLst/>
          </a:prstGeom>
          <a:noFill/>
          <a:ln w="28575">
            <a:solidFill>
              <a:srgbClr val="C41300"/>
            </a:solidFill>
            <a:round/>
          </a:ln>
          <a:effectLst>
            <a:outerShdw dist="25400" dir="5400000" algn="ctr" rotWithShape="0">
              <a:srgbClr val="FF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753850" y="6673850"/>
            <a:ext cx="234950" cy="127000"/>
          </a:xfrm>
          <a:prstGeom prst="rect">
            <a:avLst/>
          </a:prstGeom>
          <a:noFill/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1F14B184-A52D-4556-897D-995220330F3E}" type="slidenum">
              <a:rPr lang="en-US" altLang="en-US" sz="900" smtClean="0">
                <a:solidFill>
                  <a:srgbClr val="000000"/>
                </a:solidFill>
              </a:rPr>
              <a:t>‹#›</a:t>
            </a:fld>
            <a:endParaRPr lang="en-US" altLang="en-US" sz="90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en-US" altLang="en-US" sz="900">
              <a:solidFill>
                <a:srgbClr val="000000"/>
              </a:solidFill>
            </a:endParaRPr>
          </a:p>
        </p:txBody>
      </p:sp>
      <p:sp>
        <p:nvSpPr>
          <p:cNvPr id="1030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721725" y="6704013"/>
            <a:ext cx="21034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00" b="1">
                <a:solidFill>
                  <a:srgbClr val="C00000"/>
                </a:solidFill>
              </a:rPr>
              <a:t>Confidential – for internal use only</a:t>
            </a:r>
          </a:p>
        </p:txBody>
      </p:sp>
      <p:sp>
        <p:nvSpPr>
          <p:cNvPr id="1031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04800" y="990600"/>
            <a:ext cx="11582400" cy="557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32" name="Picture 45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1068050" y="-1588"/>
            <a:ext cx="112395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70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ts val="39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680" indent="-231775" algn="l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305" indent="-230505" algn="l" rtl="0" eaLnBrk="0" fontAlgn="base" hangingPunct="0">
        <a:spcBef>
          <a:spcPts val="390"/>
        </a:spcBef>
        <a:spcAft>
          <a:spcPct val="0"/>
        </a:spcAft>
        <a:buClr>
          <a:srgbClr val="760000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3D58E3-C246-85C7-5BBD-2E1A1D89C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54590-A219-47DE-5D99-38E1FB275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F9E0D-DBD5-799B-369A-F6F3CE98C4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9EF7EC-604E-4A91-8606-F8EC09BB462D}" type="datetimeFigureOut">
              <a:rPr lang="en-ID" smtClean="0"/>
              <a:t>02/10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7D26D-F8F1-21C4-E856-D39A360C2B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A4308C-AD7C-FBE6-F528-E78F1F412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/>
            <a:fld id="{BD5C96BA-F34F-46FC-BC5C-CE8B317285D1}" type="slidenum">
              <a:rPr lang="en-ID" strike="noStrike" noProof="1" smtClean="0"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‹#›</a:t>
            </a:fld>
            <a:endParaRPr lang="en-ID" strike="noStrike" noProof="1"/>
          </a:p>
        </p:txBody>
      </p:sp>
    </p:spTree>
    <p:extLst>
      <p:ext uri="{BB962C8B-B14F-4D97-AF65-F5344CB8AC3E}">
        <p14:creationId xmlns:p14="http://schemas.microsoft.com/office/powerpoint/2010/main" val="1198344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verslide_title"/>
          <p:cNvSpPr/>
          <p:nvPr/>
        </p:nvSpPr>
        <p:spPr bwMode="auto">
          <a:xfrm>
            <a:off x="1600200" y="1871663"/>
            <a:ext cx="8689975" cy="1965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anchor="ctr"/>
          <a:lstStyle/>
          <a:p>
            <a:endParaRPr lang="en-GB" sz="2800">
              <a:solidFill>
                <a:srgbClr val="4D4D4D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268183" y="5379444"/>
            <a:ext cx="3465513" cy="671512"/>
          </a:xfrm>
          <a:prstGeom prst="rect">
            <a:avLst/>
          </a:prstGeom>
          <a:noFill/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89993" rIns="91433" bIns="89993" anchor="ctr"/>
          <a:lstStyle/>
          <a:p>
            <a:pPr algn="ctr" defTabSz="9137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  <a:cs typeface="Arial" panose="020B0604020202020204" pitchFamily="34" charset="0"/>
              </a:rPr>
              <a:t>CONFIDENTIAL</a:t>
            </a:r>
          </a:p>
          <a:p>
            <a:pPr algn="ctr" defTabSz="9137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  <a:cs typeface="Arial" panose="020B0604020202020204" pitchFamily="34" charset="0"/>
              </a:rPr>
              <a:t>FOR INTERNAL USE ONLY</a:t>
            </a:r>
          </a:p>
        </p:txBody>
      </p:sp>
      <p:pic>
        <p:nvPicPr>
          <p:cNvPr id="3077" name="Picture 6" descr="APPNewLogo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7990" y="470535"/>
            <a:ext cx="3002915" cy="1401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8" name="TextBox 5"/>
          <p:cNvSpPr txBox="1">
            <a:spLocks noChangeArrowheads="1"/>
          </p:cNvSpPr>
          <p:nvPr/>
        </p:nvSpPr>
        <p:spPr bwMode="auto">
          <a:xfrm>
            <a:off x="859827" y="2048528"/>
            <a:ext cx="8875712" cy="128973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Camera APP</a:t>
            </a:r>
          </a:p>
          <a:p>
            <a:pPr algn="l"/>
            <a:r>
              <a:rPr lang="en-US" sz="3600" b="1" dirty="0">
                <a:solidFill>
                  <a:srgbClr val="0070C0"/>
                </a:solidFill>
              </a:rPr>
              <a:t>Mobile &amp; Web Galle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A505D4-0937-58B4-D82E-0FEEFD748F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5096" y="1521987"/>
            <a:ext cx="1968600" cy="196532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3" y="691117"/>
            <a:ext cx="2910789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Group List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F9D6AA-0B0C-C4AE-2F7D-90B09E685F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381" y="1752233"/>
            <a:ext cx="8096634" cy="37752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ED4E7F-C8B8-13BF-856A-306F5AF8B217}"/>
              </a:ext>
            </a:extLst>
          </p:cNvPr>
          <p:cNvSpPr txBox="1"/>
          <p:nvPr/>
        </p:nvSpPr>
        <p:spPr>
          <a:xfrm>
            <a:off x="9041258" y="1695236"/>
            <a:ext cx="265073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mudahkan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penggunaan</a:t>
            </a:r>
            <a:r>
              <a:rPr lang="en-US" sz="2400" dirty="0"/>
              <a:t> Web Gallery </a:t>
            </a:r>
            <a:r>
              <a:rPr lang="en-US" sz="2400" dirty="0" err="1"/>
              <a:t>terdapat</a:t>
            </a:r>
            <a:r>
              <a:rPr lang="en-US" sz="2400" dirty="0"/>
              <a:t> Group List. </a:t>
            </a:r>
          </a:p>
          <a:p>
            <a:pPr algn="just"/>
            <a:r>
              <a:rPr lang="en-US" sz="2400" dirty="0"/>
              <a:t>Pada Gallery Link </a:t>
            </a:r>
            <a:r>
              <a:rPr lang="en-US" sz="2400" dirty="0" err="1"/>
              <a:t>bisa</a:t>
            </a:r>
            <a:r>
              <a:rPr lang="en-US" sz="2400" dirty="0"/>
              <a:t> di klick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nampilkan</a:t>
            </a:r>
            <a:r>
              <a:rPr lang="en-US" sz="2400" dirty="0"/>
              <a:t> </a:t>
            </a:r>
            <a:r>
              <a:rPr lang="en-US" sz="2400" dirty="0" err="1"/>
              <a:t>semua</a:t>
            </a:r>
            <a:r>
              <a:rPr lang="en-US" sz="2400" dirty="0"/>
              <a:t> </a:t>
            </a:r>
            <a:r>
              <a:rPr lang="en-US" sz="2400" dirty="0" err="1"/>
              <a:t>Galery</a:t>
            </a:r>
            <a:r>
              <a:rPr lang="en-US" sz="2400" dirty="0"/>
              <a:t> Link </a:t>
            </a:r>
            <a:r>
              <a:rPr lang="en-US" sz="2400" dirty="0" err="1"/>
              <a:t>Misal</a:t>
            </a:r>
            <a:r>
              <a:rPr lang="en-US" sz="2400" dirty="0"/>
              <a:t> pada ex : IT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1965944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3" y="691117"/>
            <a:ext cx="2910789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Gallery Group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D41CF6-0AD4-540A-1DD0-3303609591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427" y="1755631"/>
            <a:ext cx="8414977" cy="39978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150811-B392-0827-7AE9-DCB2C259E3D7}"/>
              </a:ext>
            </a:extLst>
          </p:cNvPr>
          <p:cNvSpPr txBox="1"/>
          <p:nvPr/>
        </p:nvSpPr>
        <p:spPr>
          <a:xfrm>
            <a:off x="9496969" y="1972638"/>
            <a:ext cx="24210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err="1"/>
              <a:t>Berikut</a:t>
            </a:r>
            <a:r>
              <a:rPr lang="en-US" sz="2400" dirty="0"/>
              <a:t> </a:t>
            </a:r>
            <a:r>
              <a:rPr lang="en-US" sz="2400" dirty="0" err="1"/>
              <a:t>tampilan</a:t>
            </a:r>
            <a:r>
              <a:rPr lang="en-US" sz="2400" dirty="0"/>
              <a:t> pada </a:t>
            </a:r>
            <a:r>
              <a:rPr lang="en-US" sz="2400" dirty="0" err="1"/>
              <a:t>saat</a:t>
            </a:r>
            <a:r>
              <a:rPr lang="en-US" sz="2400" dirty="0"/>
              <a:t> Gallery Group di klick, </a:t>
            </a:r>
            <a:r>
              <a:rPr lang="en-US" sz="2400" dirty="0" err="1"/>
              <a:t>halaman</a:t>
            </a:r>
            <a:r>
              <a:rPr lang="en-US" sz="2400" dirty="0"/>
              <a:t> </a:t>
            </a:r>
            <a:r>
              <a:rPr lang="en-US" sz="2400" dirty="0" err="1"/>
              <a:t>ini</a:t>
            </a:r>
            <a:r>
              <a:rPr lang="en-US" sz="2400" dirty="0"/>
              <a:t>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menampilkan</a:t>
            </a:r>
            <a:r>
              <a:rPr lang="en-US" sz="2400" dirty="0"/>
              <a:t> Gallery Group IT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2435616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3" y="691117"/>
            <a:ext cx="3403950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Group Member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369B00-AB8F-98CC-5F7E-3F62911044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04" y="1609613"/>
            <a:ext cx="8140336" cy="38191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7F9D9B-6402-A517-0E8E-1202738D2845}"/>
              </a:ext>
            </a:extLst>
          </p:cNvPr>
          <p:cNvSpPr txBox="1"/>
          <p:nvPr/>
        </p:nvSpPr>
        <p:spPr>
          <a:xfrm>
            <a:off x="9250389" y="1609613"/>
            <a:ext cx="242105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err="1"/>
              <a:t>Untuk</a:t>
            </a:r>
            <a:r>
              <a:rPr lang="en-US" sz="2400" dirty="0"/>
              <a:t> Group Member </a:t>
            </a:r>
            <a:r>
              <a:rPr lang="en-US" sz="2400" dirty="0" err="1"/>
              <a:t>bisa</a:t>
            </a:r>
            <a:r>
              <a:rPr lang="en-US" sz="2400" dirty="0"/>
              <a:t> di manage, </a:t>
            </a:r>
            <a:r>
              <a:rPr lang="en-US" sz="2400" dirty="0" err="1"/>
              <a:t>untuk</a:t>
            </a:r>
            <a:r>
              <a:rPr lang="en-US" sz="2400" dirty="0"/>
              <a:t> grouping </a:t>
            </a:r>
            <a:r>
              <a:rPr lang="en-US" sz="2400" dirty="0" err="1"/>
              <a:t>setiap</a:t>
            </a:r>
            <a:r>
              <a:rPr lang="en-US" sz="2400" dirty="0"/>
              <a:t> user, dan </a:t>
            </a:r>
            <a:r>
              <a:rPr lang="en-US" sz="2400" dirty="0" err="1"/>
              <a:t>bisa</a:t>
            </a:r>
            <a:r>
              <a:rPr lang="en-US" sz="2400" dirty="0"/>
              <a:t> </a:t>
            </a:r>
            <a:r>
              <a:rPr lang="en-US" sz="2400" dirty="0" err="1"/>
              <a:t>menambah</a:t>
            </a:r>
            <a:r>
              <a:rPr lang="en-US" sz="2400" dirty="0"/>
              <a:t> group </a:t>
            </a:r>
            <a:r>
              <a:rPr lang="en-US" sz="2400" dirty="0" err="1"/>
              <a:t>atau</a:t>
            </a:r>
            <a:r>
              <a:rPr lang="en-US" sz="2400" dirty="0"/>
              <a:t> delete group oleh admin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783155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5924" y="3061129"/>
            <a:ext cx="3403950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 err="1">
                <a:solidFill>
                  <a:srgbClr val="000000"/>
                </a:solidFill>
              </a:rPr>
              <a:t>Terima</a:t>
            </a:r>
            <a:r>
              <a:rPr lang="en-US" sz="3600" b="1" dirty="0">
                <a:solidFill>
                  <a:srgbClr val="000000"/>
                </a:solidFill>
              </a:rPr>
              <a:t> Kasih</a:t>
            </a:r>
            <a:endParaRPr lang="en-US" sz="36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730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AC56B5DD-5B4C-6FB3-CD5A-3FE17BC9F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5508" y="680842"/>
            <a:ext cx="2797773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Flow System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EB89FB-934D-8F3D-89D3-24D639FE4D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977" y="1922677"/>
            <a:ext cx="728225" cy="727014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9E3FE54-5D54-4870-C101-BF4E7EA73083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106202" y="2286184"/>
            <a:ext cx="29486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ylinder 10">
            <a:extLst>
              <a:ext uri="{FF2B5EF4-FFF2-40B4-BE49-F238E27FC236}">
                <a16:creationId xmlns:a16="http://schemas.microsoft.com/office/drawing/2014/main" id="{1824305E-E71F-0AC7-399D-2EC1F210A76A}"/>
              </a:ext>
            </a:extLst>
          </p:cNvPr>
          <p:cNvSpPr/>
          <p:nvPr/>
        </p:nvSpPr>
        <p:spPr>
          <a:xfrm>
            <a:off x="5356371" y="4818768"/>
            <a:ext cx="976045" cy="1202072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</a:t>
            </a:r>
            <a:endParaRPr lang="en-ID" dirty="0"/>
          </a:p>
        </p:txBody>
      </p:sp>
      <p:sp>
        <p:nvSpPr>
          <p:cNvPr id="12" name="Rectangle: Folded Corner 11">
            <a:extLst>
              <a:ext uri="{FF2B5EF4-FFF2-40B4-BE49-F238E27FC236}">
                <a16:creationId xmlns:a16="http://schemas.microsoft.com/office/drawing/2014/main" id="{F67B7294-8F32-CCA3-32B9-C1F4FA384E7A}"/>
              </a:ext>
            </a:extLst>
          </p:cNvPr>
          <p:cNvSpPr/>
          <p:nvPr/>
        </p:nvSpPr>
        <p:spPr>
          <a:xfrm>
            <a:off x="9082355" y="1703220"/>
            <a:ext cx="1551398" cy="898803"/>
          </a:xfrm>
          <a:prstGeom prst="foldedCorne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B GALERY</a:t>
            </a:r>
            <a:endParaRPr lang="en-ID" dirty="0"/>
          </a:p>
        </p:txBody>
      </p:sp>
      <p:sp>
        <p:nvSpPr>
          <p:cNvPr id="13" name="Flowchart: Decision 12">
            <a:extLst>
              <a:ext uri="{FF2B5EF4-FFF2-40B4-BE49-F238E27FC236}">
                <a16:creationId xmlns:a16="http://schemas.microsoft.com/office/drawing/2014/main" id="{85E93CB1-050E-CA19-4BBE-0A515C0B9B98}"/>
              </a:ext>
            </a:extLst>
          </p:cNvPr>
          <p:cNvSpPr/>
          <p:nvPr/>
        </p:nvSpPr>
        <p:spPr>
          <a:xfrm>
            <a:off x="5130339" y="1613043"/>
            <a:ext cx="1428108" cy="1394712"/>
          </a:xfrm>
          <a:prstGeom prst="flowChartDecisi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I</a:t>
            </a:r>
            <a:endParaRPr lang="en-ID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8D360DD-739C-6A3F-986A-37A95A80F53D}"/>
              </a:ext>
            </a:extLst>
          </p:cNvPr>
          <p:cNvCxnSpPr>
            <a:stCxn id="13" idx="3"/>
          </p:cNvCxnSpPr>
          <p:nvPr/>
        </p:nvCxnSpPr>
        <p:spPr>
          <a:xfrm>
            <a:off x="6558447" y="2310399"/>
            <a:ext cx="24519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0C08252-CB75-D3CA-DD27-E87755BC5E2A}"/>
              </a:ext>
            </a:extLst>
          </p:cNvPr>
          <p:cNvCxnSpPr/>
          <p:nvPr/>
        </p:nvCxnSpPr>
        <p:spPr>
          <a:xfrm>
            <a:off x="5751927" y="3184989"/>
            <a:ext cx="0" cy="15205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1202FD2-2B2D-8CE5-C9DD-F651003BA074}"/>
              </a:ext>
            </a:extLst>
          </p:cNvPr>
          <p:cNvSpPr txBox="1"/>
          <p:nvPr/>
        </p:nvSpPr>
        <p:spPr>
          <a:xfrm>
            <a:off x="2606431" y="1967955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d Photo</a:t>
            </a:r>
            <a:endParaRPr lang="en-ID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3A25867-32CB-26AB-3E52-3325DE2FF0D1}"/>
              </a:ext>
            </a:extLst>
          </p:cNvPr>
          <p:cNvSpPr txBox="1"/>
          <p:nvPr/>
        </p:nvSpPr>
        <p:spPr>
          <a:xfrm>
            <a:off x="6955935" y="1916852"/>
            <a:ext cx="1325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ew Photo</a:t>
            </a:r>
            <a:endParaRPr lang="en-ID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28A5D13-B5B2-291F-BC55-54B76BA8DBC7}"/>
              </a:ext>
            </a:extLst>
          </p:cNvPr>
          <p:cNvCxnSpPr>
            <a:cxnSpLocks/>
          </p:cNvCxnSpPr>
          <p:nvPr/>
        </p:nvCxnSpPr>
        <p:spPr>
          <a:xfrm flipV="1">
            <a:off x="5876820" y="3184989"/>
            <a:ext cx="0" cy="15205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AC6F59B-3BB4-6E4F-E737-026CDE6E0225}"/>
              </a:ext>
            </a:extLst>
          </p:cNvPr>
          <p:cNvSpPr txBox="1"/>
          <p:nvPr/>
        </p:nvSpPr>
        <p:spPr>
          <a:xfrm>
            <a:off x="1377977" y="2784163"/>
            <a:ext cx="33548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/>
              <a:t>- Image </a:t>
            </a:r>
            <a:r>
              <a:rPr lang="en-US" sz="2000" dirty="0" err="1"/>
              <a:t>Encryp</a:t>
            </a:r>
            <a:r>
              <a:rPr lang="en-US" sz="2000" dirty="0"/>
              <a:t> Base64</a:t>
            </a:r>
          </a:p>
          <a:p>
            <a:pPr algn="just"/>
            <a:r>
              <a:rPr lang="en-US" sz="2000" dirty="0"/>
              <a:t>- </a:t>
            </a:r>
            <a:r>
              <a:rPr lang="en-US" sz="2000" dirty="0" err="1"/>
              <a:t>Compres</a:t>
            </a:r>
            <a:r>
              <a:rPr lang="en-US" sz="2000" dirty="0"/>
              <a:t> &lt; 200kb</a:t>
            </a:r>
          </a:p>
          <a:p>
            <a:pPr algn="just"/>
            <a:r>
              <a:rPr lang="en-US" sz="2000" dirty="0"/>
              <a:t>- Autoblock Device IMEI</a:t>
            </a:r>
          </a:p>
          <a:p>
            <a:pPr algn="just"/>
            <a:r>
              <a:rPr lang="en-US" sz="2000" dirty="0"/>
              <a:t>- Privacy Data</a:t>
            </a:r>
          </a:p>
        </p:txBody>
      </p:sp>
    </p:spTree>
    <p:extLst>
      <p:ext uri="{BB962C8B-B14F-4D97-AF65-F5344CB8AC3E}">
        <p14:creationId xmlns:p14="http://schemas.microsoft.com/office/powerpoint/2010/main" val="2845149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D0EFD07-961B-46C6-032E-D6404304F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48" y="958244"/>
            <a:ext cx="2494341" cy="5103510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AC56B5DD-5B4C-6FB3-CD5A-3FE17BC9F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5508" y="680842"/>
            <a:ext cx="2797773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Login Mobile</a:t>
            </a: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8F51ED-F650-C6D0-962F-F1C02FE6CF4C}"/>
              </a:ext>
            </a:extLst>
          </p:cNvPr>
          <p:cNvSpPr txBox="1"/>
          <p:nvPr/>
        </p:nvSpPr>
        <p:spPr>
          <a:xfrm>
            <a:off x="4519840" y="1705509"/>
            <a:ext cx="673036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	User Login </a:t>
            </a:r>
            <a:r>
              <a:rPr lang="en-US" sz="2400" dirty="0" err="1"/>
              <a:t>menggunakan</a:t>
            </a:r>
            <a:r>
              <a:rPr lang="en-US" sz="2400" dirty="0"/>
              <a:t> NIK SAP yang </a:t>
            </a:r>
            <a:r>
              <a:rPr lang="en-US" sz="2400" dirty="0" err="1"/>
              <a:t>sudah</a:t>
            </a:r>
            <a:r>
              <a:rPr lang="en-US" sz="2400" dirty="0"/>
              <a:t> </a:t>
            </a:r>
            <a:r>
              <a:rPr lang="en-US" sz="2400" dirty="0" err="1"/>
              <a:t>terdaftar</a:t>
            </a:r>
            <a:r>
              <a:rPr lang="en-US" sz="2400" dirty="0"/>
              <a:t> di System, </a:t>
            </a:r>
            <a:r>
              <a:rPr lang="en-US" sz="2400" dirty="0" err="1"/>
              <a:t>memasukan</a:t>
            </a:r>
            <a:r>
              <a:rPr lang="en-US" sz="2400" dirty="0"/>
              <a:t> ID Global dan Password.</a:t>
            </a:r>
          </a:p>
          <a:p>
            <a:pPr algn="just"/>
            <a:endParaRPr lang="en-US" sz="2400" dirty="0"/>
          </a:p>
          <a:p>
            <a:pPr algn="just"/>
            <a:r>
              <a:rPr lang="en-US" sz="2400" dirty="0"/>
              <a:t>	Schema </a:t>
            </a:r>
            <a:r>
              <a:rPr lang="en-US" sz="2400" dirty="0" err="1"/>
              <a:t>Validasi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</a:t>
            </a:r>
            <a:r>
              <a:rPr lang="en-US" sz="2400" dirty="0" err="1"/>
              <a:t>aplikasi</a:t>
            </a:r>
            <a:r>
              <a:rPr lang="en-US" sz="2400" dirty="0"/>
              <a:t> Camera App, </a:t>
            </a:r>
            <a:r>
              <a:rPr lang="en-US" sz="2400" dirty="0" err="1"/>
              <a:t>saat</a:t>
            </a:r>
            <a:r>
              <a:rPr lang="en-US" sz="2400" dirty="0"/>
              <a:t> user login </a:t>
            </a:r>
            <a:r>
              <a:rPr lang="en-US" sz="2400" dirty="0" err="1"/>
              <a:t>dengan</a:t>
            </a:r>
            <a:r>
              <a:rPr lang="en-US" sz="2400" dirty="0"/>
              <a:t> ID Global yang </a:t>
            </a:r>
            <a:r>
              <a:rPr lang="en-US" sz="2400" dirty="0" err="1"/>
              <a:t>sudah</a:t>
            </a:r>
            <a:r>
              <a:rPr lang="en-US" sz="2400" dirty="0"/>
              <a:t> </a:t>
            </a:r>
            <a:r>
              <a:rPr lang="en-US" sz="2400" dirty="0" err="1"/>
              <a:t>terdaftar</a:t>
            </a:r>
            <a:r>
              <a:rPr lang="en-US" sz="2400" dirty="0"/>
              <a:t> dan </a:t>
            </a:r>
            <a:r>
              <a:rPr lang="en-US" sz="2400" dirty="0" err="1"/>
              <a:t>terintegrasi</a:t>
            </a:r>
            <a:r>
              <a:rPr lang="en-US" sz="2400" dirty="0"/>
              <a:t> </a:t>
            </a:r>
            <a:r>
              <a:rPr lang="en-US" sz="2400" dirty="0" err="1"/>
              <a:t>dengan</a:t>
            </a:r>
            <a:r>
              <a:rPr lang="en-US" sz="2400" dirty="0"/>
              <a:t> IMEI Device, pada </a:t>
            </a:r>
            <a:r>
              <a:rPr lang="en-US" sz="2400" dirty="0" err="1"/>
              <a:t>saat</a:t>
            </a:r>
            <a:r>
              <a:rPr lang="en-US" sz="2400" dirty="0"/>
              <a:t> login </a:t>
            </a:r>
            <a:r>
              <a:rPr lang="en-US" sz="2400" dirty="0" err="1"/>
              <a:t>jika</a:t>
            </a:r>
            <a:r>
              <a:rPr lang="en-US" sz="2400" dirty="0"/>
              <a:t> user dan password </a:t>
            </a:r>
            <a:r>
              <a:rPr lang="en-US" sz="2400" dirty="0" err="1"/>
              <a:t>benar</a:t>
            </a:r>
            <a:r>
              <a:rPr lang="en-US" sz="2400" dirty="0"/>
              <a:t>,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mengirimkan</a:t>
            </a:r>
            <a:r>
              <a:rPr lang="en-US" sz="2400" dirty="0"/>
              <a:t> IMEI </a:t>
            </a:r>
            <a:r>
              <a:rPr lang="en-US" sz="2400" dirty="0" err="1"/>
              <a:t>ke</a:t>
            </a:r>
            <a:r>
              <a:rPr lang="en-US" sz="2400" dirty="0"/>
              <a:t> System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ngecek</a:t>
            </a:r>
            <a:r>
              <a:rPr lang="en-US" sz="2400" dirty="0"/>
              <a:t> </a:t>
            </a:r>
            <a:r>
              <a:rPr lang="en-US" sz="2400" dirty="0" err="1"/>
              <a:t>apakah</a:t>
            </a:r>
            <a:r>
              <a:rPr lang="en-US" sz="2400" dirty="0"/>
              <a:t> user dan IMEI </a:t>
            </a:r>
            <a:r>
              <a:rPr lang="en-US" sz="2400" dirty="0" err="1"/>
              <a:t>tersebut</a:t>
            </a:r>
            <a:r>
              <a:rPr lang="en-US" sz="2400" dirty="0"/>
              <a:t> </a:t>
            </a:r>
            <a:r>
              <a:rPr lang="en-US" sz="2400" dirty="0" err="1"/>
              <a:t>terdaftar</a:t>
            </a:r>
            <a:r>
              <a:rPr lang="en-US" sz="2400" dirty="0"/>
              <a:t>, </a:t>
            </a:r>
            <a:r>
              <a:rPr lang="en-US" sz="2400" dirty="0" err="1"/>
              <a:t>jika</a:t>
            </a:r>
            <a:r>
              <a:rPr lang="en-US" sz="2400" dirty="0"/>
              <a:t> </a:t>
            </a:r>
            <a:r>
              <a:rPr lang="en-US" sz="2400" dirty="0" err="1"/>
              <a:t>tidak</a:t>
            </a:r>
            <a:r>
              <a:rPr lang="en-US" sz="2400" dirty="0"/>
              <a:t> </a:t>
            </a:r>
            <a:r>
              <a:rPr lang="en-US" sz="2400" dirty="0" err="1"/>
              <a:t>terdaftar</a:t>
            </a:r>
            <a:r>
              <a:rPr lang="en-US" sz="2400" dirty="0"/>
              <a:t> </a:t>
            </a:r>
            <a:r>
              <a:rPr lang="en-US" sz="2400" dirty="0" err="1"/>
              <a:t>makan</a:t>
            </a:r>
            <a:r>
              <a:rPr lang="en-US" sz="2400" dirty="0"/>
              <a:t> </a:t>
            </a:r>
            <a:r>
              <a:rPr lang="en-US" sz="2400" dirty="0" err="1"/>
              <a:t>gagal</a:t>
            </a:r>
            <a:r>
              <a:rPr lang="en-US" sz="2400" dirty="0"/>
              <a:t> Login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972493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B079DD-461C-72B4-AA5C-A1DD35ED38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337" y="877245"/>
            <a:ext cx="2494341" cy="5103510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A5784D60-2FE9-481D-E23F-A826767CF9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9840" y="509374"/>
            <a:ext cx="1934743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Camera</a:t>
            </a: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293174-9C11-E355-353E-6D4DC398B1B1}"/>
              </a:ext>
            </a:extLst>
          </p:cNvPr>
          <p:cNvSpPr txBox="1"/>
          <p:nvPr/>
        </p:nvSpPr>
        <p:spPr>
          <a:xfrm>
            <a:off x="4519840" y="1245115"/>
            <a:ext cx="673036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/>
              <a:t>	</a:t>
            </a:r>
            <a:r>
              <a:rPr lang="en-US" sz="2000" dirty="0" err="1"/>
              <a:t>Dalam</a:t>
            </a:r>
            <a:r>
              <a:rPr lang="en-US" sz="2000" dirty="0"/>
              <a:t> Screen Camera </a:t>
            </a:r>
            <a:r>
              <a:rPr lang="en-US" sz="2000" dirty="0" err="1"/>
              <a:t>terdapat</a:t>
            </a:r>
            <a:r>
              <a:rPr lang="en-US" sz="2000" dirty="0"/>
              <a:t> </a:t>
            </a:r>
            <a:r>
              <a:rPr lang="en-US" sz="2000" dirty="0" err="1"/>
              <a:t>beberapa</a:t>
            </a:r>
            <a:r>
              <a:rPr lang="en-US" sz="2000" dirty="0"/>
              <a:t> </a:t>
            </a:r>
            <a:r>
              <a:rPr lang="en-US" sz="2000" dirty="0" err="1"/>
              <a:t>Fiture</a:t>
            </a:r>
            <a:r>
              <a:rPr lang="en-US" sz="2000" dirty="0"/>
              <a:t> </a:t>
            </a:r>
            <a:r>
              <a:rPr lang="en-US" sz="2000" dirty="0" err="1"/>
              <a:t>diantaranya</a:t>
            </a:r>
            <a:r>
              <a:rPr lang="en-US" sz="2000" dirty="0"/>
              <a:t> Settings, Flash, Focus, Zoom, dan Take Photo.</a:t>
            </a:r>
          </a:p>
          <a:p>
            <a:pPr algn="just"/>
            <a:r>
              <a:rPr lang="en-US" sz="2000" dirty="0"/>
              <a:t>- </a:t>
            </a:r>
            <a:r>
              <a:rPr lang="en-US" sz="2000" b="1" dirty="0"/>
              <a:t>Settings</a:t>
            </a:r>
            <a:r>
              <a:rPr lang="en-US" sz="2000" dirty="0"/>
              <a:t> : </a:t>
            </a:r>
            <a:r>
              <a:rPr lang="en-US" sz="2000" dirty="0" err="1"/>
              <a:t>menampilkan</a:t>
            </a:r>
            <a:r>
              <a:rPr lang="en-US" sz="2000" dirty="0"/>
              <a:t> Screen </a:t>
            </a:r>
            <a:r>
              <a:rPr lang="en-US" sz="2000" dirty="0" err="1"/>
              <a:t>pengaturan</a:t>
            </a:r>
            <a:r>
              <a:rPr lang="en-US" sz="2000" dirty="0"/>
              <a:t> dan </a:t>
            </a:r>
            <a:r>
              <a:rPr lang="en-US" sz="2000" dirty="0" err="1"/>
              <a:t>informasi</a:t>
            </a:r>
            <a:r>
              <a:rPr lang="en-US" sz="2000" dirty="0"/>
              <a:t> user yang login dan logout.</a:t>
            </a:r>
          </a:p>
          <a:p>
            <a:pPr algn="just"/>
            <a:r>
              <a:rPr lang="en-US" sz="2000" dirty="0"/>
              <a:t>- </a:t>
            </a:r>
            <a:r>
              <a:rPr lang="en-US" sz="2000" b="1" dirty="0"/>
              <a:t>Flash</a:t>
            </a:r>
            <a:r>
              <a:rPr lang="en-US" sz="2000" dirty="0"/>
              <a:t> : </a:t>
            </a:r>
            <a:r>
              <a:rPr lang="en-US" sz="2000" dirty="0" err="1"/>
              <a:t>Secara</a:t>
            </a:r>
            <a:r>
              <a:rPr lang="en-US" sz="2000" dirty="0"/>
              <a:t> Default Flash </a:t>
            </a:r>
            <a:r>
              <a:rPr lang="en-US" sz="2000" dirty="0" err="1"/>
              <a:t>otomatis</a:t>
            </a:r>
            <a:r>
              <a:rPr lang="en-US" sz="2000" dirty="0"/>
              <a:t> </a:t>
            </a:r>
            <a:r>
              <a:rPr lang="en-US" sz="2000" dirty="0" err="1"/>
              <a:t>jika</a:t>
            </a:r>
            <a:r>
              <a:rPr lang="en-US" sz="2000" dirty="0"/>
              <a:t> </a:t>
            </a:r>
            <a:r>
              <a:rPr lang="en-US" sz="2000" dirty="0" err="1"/>
              <a:t>dalam</a:t>
            </a:r>
            <a:r>
              <a:rPr lang="en-US" sz="2000" dirty="0"/>
              <a:t> </a:t>
            </a:r>
            <a:r>
              <a:rPr lang="en-US" sz="2000" dirty="0" err="1"/>
              <a:t>kondisi</a:t>
            </a:r>
            <a:r>
              <a:rPr lang="en-US" sz="2000" dirty="0"/>
              <a:t> </a:t>
            </a:r>
            <a:r>
              <a:rPr lang="en-US" sz="2000" dirty="0" err="1"/>
              <a:t>gelap</a:t>
            </a:r>
            <a:r>
              <a:rPr lang="en-US" sz="2000" dirty="0"/>
              <a:t> </a:t>
            </a:r>
            <a:r>
              <a:rPr lang="en-US" sz="2000" dirty="0" err="1"/>
              <a:t>akan</a:t>
            </a:r>
            <a:r>
              <a:rPr lang="en-US" sz="2000" dirty="0"/>
              <a:t> </a:t>
            </a:r>
            <a:r>
              <a:rPr lang="en-US" sz="2000" dirty="0" err="1"/>
              <a:t>menyala</a:t>
            </a:r>
            <a:r>
              <a:rPr lang="en-US" sz="2000" dirty="0"/>
              <a:t>, </a:t>
            </a:r>
            <a:r>
              <a:rPr lang="en-US" sz="2000" dirty="0" err="1"/>
              <a:t>namun</a:t>
            </a:r>
            <a:r>
              <a:rPr lang="en-US" sz="2000" dirty="0"/>
              <a:t> </a:t>
            </a:r>
            <a:r>
              <a:rPr lang="en-US" sz="2000" dirty="0" err="1"/>
              <a:t>bisa</a:t>
            </a:r>
            <a:r>
              <a:rPr lang="en-US" sz="2000" dirty="0"/>
              <a:t> di control </a:t>
            </a:r>
            <a:r>
              <a:rPr lang="en-US" sz="2000" dirty="0" err="1"/>
              <a:t>melalui</a:t>
            </a:r>
            <a:r>
              <a:rPr lang="en-US" sz="2000" dirty="0"/>
              <a:t> Icon Flash </a:t>
            </a:r>
            <a:r>
              <a:rPr lang="en-US" sz="2000" dirty="0" err="1"/>
              <a:t>untuk</a:t>
            </a:r>
            <a:r>
              <a:rPr lang="en-US" sz="2000" dirty="0"/>
              <a:t> </a:t>
            </a:r>
            <a:r>
              <a:rPr lang="en-US" sz="2000" dirty="0" err="1"/>
              <a:t>menonaktifkan</a:t>
            </a:r>
            <a:r>
              <a:rPr lang="en-US" sz="2000" dirty="0"/>
              <a:t> dan </a:t>
            </a:r>
            <a:r>
              <a:rPr lang="en-US" sz="2000" dirty="0" err="1"/>
              <a:t>mengaktifkan</a:t>
            </a:r>
            <a:r>
              <a:rPr lang="en-US" sz="2000" dirty="0"/>
              <a:t> Flash.</a:t>
            </a:r>
          </a:p>
          <a:p>
            <a:pPr algn="just"/>
            <a:r>
              <a:rPr lang="en-US" sz="2000" dirty="0"/>
              <a:t>- </a:t>
            </a:r>
            <a:r>
              <a:rPr lang="en-US" sz="2000" b="1" dirty="0"/>
              <a:t>Focus</a:t>
            </a:r>
            <a:r>
              <a:rPr lang="en-US" sz="2000" dirty="0"/>
              <a:t> : </a:t>
            </a:r>
            <a:r>
              <a:rPr lang="en-US" sz="2000" dirty="0" err="1"/>
              <a:t>Secara</a:t>
            </a:r>
            <a:r>
              <a:rPr lang="en-US" sz="2000" dirty="0"/>
              <a:t> default </a:t>
            </a:r>
            <a:r>
              <a:rPr lang="en-US" sz="2000" dirty="0" err="1"/>
              <a:t>otomatis</a:t>
            </a:r>
            <a:r>
              <a:rPr lang="en-US" sz="2000" dirty="0"/>
              <a:t> </a:t>
            </a:r>
            <a:r>
              <a:rPr lang="en-US" sz="2000" dirty="0" err="1"/>
              <a:t>jika</a:t>
            </a:r>
            <a:r>
              <a:rPr lang="en-US" sz="2000" dirty="0"/>
              <a:t> </a:t>
            </a:r>
            <a:r>
              <a:rPr lang="en-US" sz="2000" dirty="0" err="1"/>
              <a:t>dalam</a:t>
            </a:r>
            <a:r>
              <a:rPr lang="en-US" sz="2000" dirty="0"/>
              <a:t> </a:t>
            </a:r>
            <a:r>
              <a:rPr lang="en-US" sz="2000" dirty="0" err="1"/>
              <a:t>keadaan</a:t>
            </a:r>
            <a:r>
              <a:rPr lang="en-US" sz="2000" dirty="0"/>
              <a:t> focus, </a:t>
            </a:r>
            <a:r>
              <a:rPr lang="en-US" sz="2000" dirty="0" err="1"/>
              <a:t>namun</a:t>
            </a:r>
            <a:r>
              <a:rPr lang="en-US" sz="2000" dirty="0"/>
              <a:t> </a:t>
            </a:r>
            <a:r>
              <a:rPr lang="en-US" sz="2000" dirty="0" err="1"/>
              <a:t>bisa</a:t>
            </a:r>
            <a:r>
              <a:rPr lang="en-US" sz="2000" dirty="0"/>
              <a:t> di </a:t>
            </a:r>
            <a:r>
              <a:rPr lang="en-US" sz="2000" dirty="0" err="1"/>
              <a:t>nonaktifkan</a:t>
            </a:r>
            <a:r>
              <a:rPr lang="en-US" sz="2000" dirty="0"/>
              <a:t> dan di </a:t>
            </a:r>
            <a:r>
              <a:rPr lang="en-US" sz="2000" dirty="0" err="1"/>
              <a:t>aktifkan</a:t>
            </a:r>
            <a:r>
              <a:rPr lang="en-US" sz="2000" dirty="0"/>
              <a:t> </a:t>
            </a:r>
            <a:r>
              <a:rPr lang="en-US" sz="2000" dirty="0" err="1"/>
              <a:t>penggunaan</a:t>
            </a:r>
            <a:r>
              <a:rPr lang="en-US" sz="2000" dirty="0"/>
              <a:t> autofocus.</a:t>
            </a:r>
          </a:p>
          <a:p>
            <a:pPr algn="just"/>
            <a:r>
              <a:rPr lang="en-US" sz="2000" dirty="0"/>
              <a:t>- </a:t>
            </a:r>
            <a:r>
              <a:rPr lang="en-US" sz="2000" b="1" dirty="0"/>
              <a:t>Zoom</a:t>
            </a:r>
            <a:r>
              <a:rPr lang="en-US" sz="2000" dirty="0"/>
              <a:t> : </a:t>
            </a:r>
            <a:r>
              <a:rPr lang="en-US" sz="2000" dirty="0" err="1"/>
              <a:t>saat</a:t>
            </a:r>
            <a:r>
              <a:rPr lang="en-US" sz="2000" dirty="0"/>
              <a:t> </a:t>
            </a:r>
            <a:r>
              <a:rPr lang="en-US" sz="2000" dirty="0" err="1"/>
              <a:t>menggunakan</a:t>
            </a:r>
            <a:r>
              <a:rPr lang="en-US" sz="2000" dirty="0"/>
              <a:t> Camera </a:t>
            </a:r>
            <a:r>
              <a:rPr lang="en-US" sz="2000" dirty="0" err="1"/>
              <a:t>bisa</a:t>
            </a:r>
            <a:r>
              <a:rPr lang="en-US" sz="2000" dirty="0"/>
              <a:t> </a:t>
            </a:r>
            <a:r>
              <a:rPr lang="en-US" sz="2000" dirty="0" err="1"/>
              <a:t>menggunakan</a:t>
            </a:r>
            <a:r>
              <a:rPr lang="en-US" sz="2000" dirty="0"/>
              <a:t> </a:t>
            </a:r>
            <a:r>
              <a:rPr lang="en-US" sz="2000" dirty="0" err="1"/>
              <a:t>fiture</a:t>
            </a:r>
            <a:r>
              <a:rPr lang="en-US" sz="2000" dirty="0"/>
              <a:t> Zoom </a:t>
            </a:r>
            <a:r>
              <a:rPr lang="en-US" sz="2000" dirty="0" err="1"/>
              <a:t>baik</a:t>
            </a:r>
            <a:r>
              <a:rPr lang="en-US" sz="2000" dirty="0"/>
              <a:t> Gesture </a:t>
            </a:r>
            <a:r>
              <a:rPr lang="en-US" sz="2000" dirty="0" err="1"/>
              <a:t>Detectore</a:t>
            </a:r>
            <a:r>
              <a:rPr lang="en-US" sz="2000" dirty="0"/>
              <a:t> </a:t>
            </a:r>
            <a:r>
              <a:rPr lang="en-US" sz="2000" dirty="0" err="1"/>
              <a:t>atau</a:t>
            </a:r>
            <a:r>
              <a:rPr lang="en-US" sz="2000" dirty="0"/>
              <a:t> Scroll Zoom. </a:t>
            </a:r>
            <a:r>
              <a:rPr lang="en-US" sz="2000" dirty="0" err="1"/>
              <a:t>Untuk</a:t>
            </a:r>
            <a:r>
              <a:rPr lang="en-US" sz="2000" dirty="0"/>
              <a:t> </a:t>
            </a:r>
            <a:r>
              <a:rPr lang="en-US" sz="2000" dirty="0" err="1"/>
              <a:t>menagkap</a:t>
            </a:r>
            <a:r>
              <a:rPr lang="en-US" sz="2000" dirty="0"/>
              <a:t> photo </a:t>
            </a:r>
            <a:r>
              <a:rPr lang="en-US" sz="2000" dirty="0" err="1"/>
              <a:t>lebih</a:t>
            </a:r>
            <a:r>
              <a:rPr lang="en-US" sz="2000" dirty="0"/>
              <a:t> </a:t>
            </a:r>
            <a:r>
              <a:rPr lang="en-US" sz="2000" dirty="0" err="1"/>
              <a:t>dekat</a:t>
            </a:r>
            <a:r>
              <a:rPr lang="en-US" sz="2000" dirty="0"/>
              <a:t>.</a:t>
            </a:r>
          </a:p>
          <a:p>
            <a:pPr algn="just"/>
            <a:r>
              <a:rPr lang="en-US" sz="2000" b="1" dirty="0"/>
              <a:t>Take Photo</a:t>
            </a:r>
            <a:r>
              <a:rPr lang="en-US" sz="2000" dirty="0"/>
              <a:t> : take photo </a:t>
            </a:r>
            <a:r>
              <a:rPr lang="en-US" sz="2000" dirty="0" err="1"/>
              <a:t>disini</a:t>
            </a:r>
            <a:r>
              <a:rPr lang="en-US" sz="2000" dirty="0"/>
              <a:t> </a:t>
            </a:r>
            <a:r>
              <a:rPr lang="en-US" sz="2000" dirty="0" err="1"/>
              <a:t>akan</a:t>
            </a:r>
            <a:r>
              <a:rPr lang="en-US" sz="2000" dirty="0"/>
              <a:t> </a:t>
            </a:r>
            <a:r>
              <a:rPr lang="en-US" sz="2000" dirty="0" err="1"/>
              <a:t>menagkap</a:t>
            </a:r>
            <a:r>
              <a:rPr lang="en-US" sz="2000" dirty="0"/>
              <a:t> </a:t>
            </a:r>
            <a:r>
              <a:rPr lang="en-US" sz="2000" dirty="0" err="1"/>
              <a:t>gambar</a:t>
            </a:r>
            <a:r>
              <a:rPr lang="en-US" sz="2000" dirty="0"/>
              <a:t> dan </a:t>
            </a:r>
            <a:r>
              <a:rPr lang="en-US" sz="2000" dirty="0" err="1"/>
              <a:t>langsung</a:t>
            </a:r>
            <a:r>
              <a:rPr lang="en-US" sz="2000" dirty="0"/>
              <a:t> di </a:t>
            </a:r>
            <a:r>
              <a:rPr lang="en-US" sz="2000" dirty="0" err="1"/>
              <a:t>tampilkan</a:t>
            </a:r>
            <a:r>
              <a:rPr lang="en-US" sz="2000" dirty="0"/>
              <a:t> </a:t>
            </a:r>
            <a:r>
              <a:rPr lang="en-US" sz="2000" dirty="0" err="1"/>
              <a:t>ke</a:t>
            </a:r>
            <a:r>
              <a:rPr lang="en-US" sz="2000" dirty="0"/>
              <a:t> image preview </a:t>
            </a:r>
            <a:r>
              <a:rPr lang="en-US" sz="2000" dirty="0" err="1"/>
              <a:t>tanpa</a:t>
            </a:r>
            <a:r>
              <a:rPr lang="en-US" sz="2000" dirty="0"/>
              <a:t> </a:t>
            </a:r>
            <a:r>
              <a:rPr lang="en-US" sz="2000" dirty="0" err="1"/>
              <a:t>menyimpan</a:t>
            </a:r>
            <a:r>
              <a:rPr lang="en-US" sz="2000" dirty="0"/>
              <a:t> </a:t>
            </a:r>
            <a:r>
              <a:rPr lang="en-US" sz="2000" dirty="0" err="1"/>
              <a:t>ke</a:t>
            </a:r>
            <a:r>
              <a:rPr lang="en-US" sz="2000" dirty="0"/>
              <a:t> gallery Device.</a:t>
            </a:r>
            <a:endParaRPr lang="en-ID" sz="2000" dirty="0"/>
          </a:p>
        </p:txBody>
      </p:sp>
    </p:spTree>
    <p:extLst>
      <p:ext uri="{BB962C8B-B14F-4D97-AF65-F5344CB8AC3E}">
        <p14:creationId xmlns:p14="http://schemas.microsoft.com/office/powerpoint/2010/main" val="1221175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A5784D60-2FE9-481D-E23F-A826767CF9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9840" y="608923"/>
            <a:ext cx="3270384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Photo Preview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7A3AC0-B13F-DFB5-C204-72FD49358C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482" y="877244"/>
            <a:ext cx="2494342" cy="51035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591F2DB-BADB-5D07-4EE5-CC8A205FFB3F}"/>
              </a:ext>
            </a:extLst>
          </p:cNvPr>
          <p:cNvSpPr txBox="1"/>
          <p:nvPr/>
        </p:nvSpPr>
        <p:spPr>
          <a:xfrm>
            <a:off x="4519840" y="1245115"/>
            <a:ext cx="673036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	Pada Screen Photo Preview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menampilkan</a:t>
            </a:r>
            <a:r>
              <a:rPr lang="en-US" sz="2400" dirty="0"/>
              <a:t> </a:t>
            </a:r>
            <a:r>
              <a:rPr lang="en-US" sz="2400" dirty="0" err="1"/>
              <a:t>hasil</a:t>
            </a:r>
            <a:r>
              <a:rPr lang="en-US" sz="2400" dirty="0"/>
              <a:t> photo dan </a:t>
            </a:r>
            <a:r>
              <a:rPr lang="en-US" sz="2400" dirty="0" err="1"/>
              <a:t>terdapat</a:t>
            </a:r>
            <a:r>
              <a:rPr lang="en-US" sz="2400" dirty="0"/>
              <a:t> description dan </a:t>
            </a:r>
            <a:r>
              <a:rPr lang="en-US" sz="2400" dirty="0" err="1"/>
              <a:t>tombol</a:t>
            </a:r>
            <a:r>
              <a:rPr lang="en-US" sz="2400" dirty="0"/>
              <a:t> send. Dimana </a:t>
            </a:r>
            <a:r>
              <a:rPr lang="en-US" sz="2400" dirty="0" err="1"/>
              <a:t>freetext</a:t>
            </a:r>
            <a:r>
              <a:rPr lang="en-US" sz="2400" dirty="0"/>
              <a:t> </a:t>
            </a:r>
            <a:r>
              <a:rPr lang="en-US" sz="2400" dirty="0" err="1"/>
              <a:t>tersebut</a:t>
            </a:r>
            <a:r>
              <a:rPr lang="en-US" sz="2400" dirty="0"/>
              <a:t> </a:t>
            </a:r>
            <a:r>
              <a:rPr lang="en-US" sz="2400" dirty="0" err="1"/>
              <a:t>secara</a:t>
            </a:r>
            <a:r>
              <a:rPr lang="en-US" sz="2400" dirty="0"/>
              <a:t> default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kosong</a:t>
            </a:r>
            <a:r>
              <a:rPr lang="en-US" sz="2400" dirty="0"/>
              <a:t>, dan </a:t>
            </a:r>
            <a:r>
              <a:rPr lang="en-US" sz="2400" dirty="0" err="1"/>
              <a:t>wajib</a:t>
            </a:r>
            <a:r>
              <a:rPr lang="en-US" sz="2400" dirty="0"/>
              <a:t> </a:t>
            </a:r>
            <a:r>
              <a:rPr lang="en-US" sz="2400" dirty="0" err="1"/>
              <a:t>diisi</a:t>
            </a:r>
            <a:r>
              <a:rPr lang="en-US" sz="2400" dirty="0"/>
              <a:t>.</a:t>
            </a:r>
          </a:p>
          <a:p>
            <a:pPr algn="just"/>
            <a:r>
              <a:rPr lang="en-US" sz="2400" dirty="0"/>
              <a:t>Ketika pada </a:t>
            </a:r>
            <a:r>
              <a:rPr lang="en-US" sz="2400" dirty="0" err="1"/>
              <a:t>saat</a:t>
            </a:r>
            <a:r>
              <a:rPr lang="en-US" sz="2400" dirty="0"/>
              <a:t> photo </a:t>
            </a:r>
            <a:r>
              <a:rPr lang="en-US" sz="2400" dirty="0" err="1"/>
              <a:t>berikutnya</a:t>
            </a:r>
            <a:r>
              <a:rPr lang="en-US" sz="2400" dirty="0"/>
              <a:t>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secara</a:t>
            </a:r>
            <a:r>
              <a:rPr lang="en-US" sz="2400" dirty="0"/>
              <a:t> </a:t>
            </a:r>
            <a:r>
              <a:rPr lang="en-US" sz="2400" dirty="0" err="1"/>
              <a:t>otomatis</a:t>
            </a:r>
            <a:r>
              <a:rPr lang="en-US" sz="2400" dirty="0"/>
              <a:t> </a:t>
            </a:r>
            <a:r>
              <a:rPr lang="en-US" sz="2400" dirty="0" err="1"/>
              <a:t>freetext</a:t>
            </a:r>
            <a:r>
              <a:rPr lang="en-US" sz="2400" dirty="0"/>
              <a:t> </a:t>
            </a:r>
            <a:r>
              <a:rPr lang="en-US" sz="2400" dirty="0" err="1"/>
              <a:t>terdapat</a:t>
            </a:r>
            <a:r>
              <a:rPr lang="en-US" sz="2400" dirty="0"/>
              <a:t> text </a:t>
            </a:r>
            <a:r>
              <a:rPr lang="en-US" sz="2400" dirty="0" err="1"/>
              <a:t>sebelumnya</a:t>
            </a:r>
            <a:r>
              <a:rPr lang="en-US" sz="2400" dirty="0"/>
              <a:t>.</a:t>
            </a:r>
          </a:p>
          <a:p>
            <a:pPr algn="just"/>
            <a:endParaRPr lang="en-US" sz="2400" dirty="0"/>
          </a:p>
          <a:p>
            <a:pPr algn="just"/>
            <a:r>
              <a:rPr lang="en-US" sz="2400" dirty="0"/>
              <a:t>	Jika di </a:t>
            </a:r>
            <a:r>
              <a:rPr lang="en-US" sz="2400" dirty="0" err="1"/>
              <a:t>anggap</a:t>
            </a:r>
            <a:r>
              <a:rPr lang="en-US" sz="2400" dirty="0"/>
              <a:t> </a:t>
            </a:r>
            <a:r>
              <a:rPr lang="en-US" sz="2400" dirty="0" err="1"/>
              <a:t>hasil</a:t>
            </a:r>
            <a:r>
              <a:rPr lang="en-US" sz="2400" dirty="0"/>
              <a:t> photo </a:t>
            </a:r>
            <a:r>
              <a:rPr lang="en-US" sz="2400" dirty="0" err="1"/>
              <a:t>sudah</a:t>
            </a:r>
            <a:r>
              <a:rPr lang="en-US" sz="2400" dirty="0"/>
              <a:t> </a:t>
            </a:r>
            <a:r>
              <a:rPr lang="en-US" sz="2400" dirty="0" err="1"/>
              <a:t>sesuai</a:t>
            </a:r>
            <a:r>
              <a:rPr lang="en-US" sz="2400" dirty="0"/>
              <a:t> </a:t>
            </a:r>
            <a:r>
              <a:rPr lang="en-US" sz="2400" dirty="0" err="1"/>
              <a:t>dengan</a:t>
            </a:r>
            <a:r>
              <a:rPr lang="en-US" sz="2400" dirty="0"/>
              <a:t> yang di </a:t>
            </a:r>
            <a:r>
              <a:rPr lang="en-US" sz="2400" dirty="0" err="1"/>
              <a:t>harapkan</a:t>
            </a:r>
            <a:r>
              <a:rPr lang="en-US" sz="2400" dirty="0"/>
              <a:t> </a:t>
            </a:r>
            <a:r>
              <a:rPr lang="en-US" sz="2400" dirty="0" err="1"/>
              <a:t>bisa</a:t>
            </a:r>
            <a:r>
              <a:rPr lang="en-US" sz="2400" dirty="0"/>
              <a:t> </a:t>
            </a:r>
            <a:r>
              <a:rPr lang="en-US" sz="2400" dirty="0" err="1"/>
              <a:t>langsung</a:t>
            </a:r>
            <a:r>
              <a:rPr lang="en-US" sz="2400" dirty="0"/>
              <a:t> </a:t>
            </a:r>
            <a:r>
              <a:rPr lang="en-US" sz="2400" dirty="0" err="1"/>
              <a:t>tekan</a:t>
            </a:r>
            <a:r>
              <a:rPr lang="en-US" sz="2400" dirty="0"/>
              <a:t> </a:t>
            </a:r>
            <a:r>
              <a:rPr lang="en-US" sz="2400" dirty="0" err="1"/>
              <a:t>tombol</a:t>
            </a:r>
            <a:r>
              <a:rPr lang="en-US" sz="2400" dirty="0"/>
              <a:t> Send.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mengirimkan</a:t>
            </a:r>
            <a:r>
              <a:rPr lang="en-US" sz="2400" dirty="0"/>
              <a:t> </a:t>
            </a:r>
            <a:r>
              <a:rPr lang="en-US" sz="2400" dirty="0" err="1"/>
              <a:t>ke</a:t>
            </a:r>
            <a:r>
              <a:rPr lang="en-US" sz="2400" dirty="0"/>
              <a:t> server dan </a:t>
            </a:r>
            <a:r>
              <a:rPr lang="en-US" sz="2400" dirty="0" err="1"/>
              <a:t>bisa</a:t>
            </a:r>
            <a:r>
              <a:rPr lang="en-US" sz="2400" dirty="0"/>
              <a:t> di </a:t>
            </a:r>
            <a:r>
              <a:rPr lang="en-US" sz="2400" dirty="0" err="1"/>
              <a:t>cek</a:t>
            </a:r>
            <a:r>
              <a:rPr lang="en-US" sz="2400" dirty="0"/>
              <a:t> pada Web Gallery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2249760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6928D94-3556-12CE-6D3C-8580BCA088B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888" y="667820"/>
            <a:ext cx="2588581" cy="5296328"/>
          </a:xfrm>
          <a:prstGeom prst="rect">
            <a:avLst/>
          </a:prstGeom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5508" y="680842"/>
            <a:ext cx="1934743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Settings</a:t>
            </a: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217C6E-2FCD-AF37-A995-B5997D246A70}"/>
              </a:ext>
            </a:extLst>
          </p:cNvPr>
          <p:cNvSpPr txBox="1"/>
          <p:nvPr/>
        </p:nvSpPr>
        <p:spPr>
          <a:xfrm>
            <a:off x="4519840" y="1416583"/>
            <a:ext cx="673036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err="1"/>
              <a:t>Dalam</a:t>
            </a:r>
            <a:r>
              <a:rPr lang="en-US" sz="2400" dirty="0"/>
              <a:t> Screen Settings </a:t>
            </a:r>
            <a:r>
              <a:rPr lang="en-US" sz="2400" dirty="0" err="1"/>
              <a:t>terdapat</a:t>
            </a:r>
            <a:r>
              <a:rPr lang="en-US" sz="2400" dirty="0"/>
              <a:t> </a:t>
            </a:r>
            <a:r>
              <a:rPr lang="en-US" sz="2400" dirty="0" err="1"/>
              <a:t>beberapa</a:t>
            </a:r>
            <a:r>
              <a:rPr lang="en-US" sz="2400" dirty="0"/>
              <a:t> menu di </a:t>
            </a:r>
            <a:r>
              <a:rPr lang="en-US" sz="2400" dirty="0" err="1"/>
              <a:t>antaranya</a:t>
            </a:r>
            <a:r>
              <a:rPr lang="en-US" sz="2400" dirty="0"/>
              <a:t> : </a:t>
            </a:r>
          </a:p>
          <a:p>
            <a:pPr algn="just"/>
            <a:r>
              <a:rPr lang="en-US" sz="2400" dirty="0"/>
              <a:t>- </a:t>
            </a:r>
            <a:r>
              <a:rPr lang="en-US" sz="2400" b="1" dirty="0"/>
              <a:t>Privacy</a:t>
            </a:r>
            <a:r>
              <a:rPr lang="en-US" sz="2400" dirty="0"/>
              <a:t> : </a:t>
            </a:r>
            <a:r>
              <a:rPr lang="en-US" sz="2400" dirty="0" err="1"/>
              <a:t>dimana</a:t>
            </a:r>
            <a:r>
              <a:rPr lang="en-US" sz="2400" dirty="0"/>
              <a:t> </a:t>
            </a:r>
            <a:r>
              <a:rPr lang="en-US" sz="2400" dirty="0" err="1"/>
              <a:t>menjelaskan</a:t>
            </a:r>
            <a:r>
              <a:rPr lang="en-US" sz="2400" dirty="0"/>
              <a:t> </a:t>
            </a:r>
            <a:r>
              <a:rPr lang="en-US" sz="2400" dirty="0" err="1"/>
              <a:t>aturan</a:t>
            </a:r>
            <a:r>
              <a:rPr lang="en-US" sz="2400" dirty="0"/>
              <a:t> dan </a:t>
            </a:r>
            <a:r>
              <a:rPr lang="en-US" sz="2400" dirty="0" err="1"/>
              <a:t>syarat</a:t>
            </a:r>
            <a:r>
              <a:rPr lang="en-US" sz="2400" dirty="0"/>
              <a:t> yang di </a:t>
            </a:r>
            <a:r>
              <a:rPr lang="en-US" sz="2400" dirty="0" err="1"/>
              <a:t>tentukan</a:t>
            </a:r>
            <a:r>
              <a:rPr lang="en-US" sz="2400" dirty="0"/>
              <a:t> </a:t>
            </a:r>
            <a:r>
              <a:rPr lang="en-US" sz="2400" dirty="0" err="1"/>
              <a:t>baik</a:t>
            </a:r>
            <a:r>
              <a:rPr lang="en-US" sz="2400" dirty="0"/>
              <a:t> </a:t>
            </a:r>
            <a:r>
              <a:rPr lang="en-US" sz="2400" dirty="0" err="1"/>
              <a:t>dari</a:t>
            </a:r>
            <a:r>
              <a:rPr lang="en-US" sz="2400" dirty="0"/>
              <a:t> </a:t>
            </a:r>
            <a:r>
              <a:rPr lang="en-US" sz="2400" dirty="0" err="1"/>
              <a:t>izin</a:t>
            </a:r>
            <a:r>
              <a:rPr lang="en-US" sz="2400" dirty="0"/>
              <a:t> permission, user block, device IMEI yang </a:t>
            </a:r>
            <a:r>
              <a:rPr lang="en-US" sz="2400" dirty="0" err="1"/>
              <a:t>harus</a:t>
            </a:r>
            <a:r>
              <a:rPr lang="en-US" sz="2400" dirty="0"/>
              <a:t> di </a:t>
            </a:r>
            <a:r>
              <a:rPr lang="en-US" sz="2400" dirty="0" err="1"/>
              <a:t>setujui</a:t>
            </a:r>
            <a:r>
              <a:rPr lang="en-US" sz="2400" dirty="0"/>
              <a:t> oleh user.</a:t>
            </a:r>
          </a:p>
          <a:p>
            <a:pPr algn="just"/>
            <a:r>
              <a:rPr lang="en-US" sz="2400" dirty="0"/>
              <a:t>- </a:t>
            </a:r>
            <a:r>
              <a:rPr lang="en-US" sz="2400" b="1" dirty="0"/>
              <a:t>Account</a:t>
            </a:r>
            <a:r>
              <a:rPr lang="en-US" sz="2400" dirty="0"/>
              <a:t> : </a:t>
            </a:r>
            <a:r>
              <a:rPr lang="en-US" sz="2400" dirty="0" err="1"/>
              <a:t>informasi</a:t>
            </a:r>
            <a:r>
              <a:rPr lang="en-US" sz="2400" dirty="0"/>
              <a:t> </a:t>
            </a:r>
            <a:r>
              <a:rPr lang="en-US" sz="2400" dirty="0" err="1"/>
              <a:t>terkait</a:t>
            </a:r>
            <a:r>
              <a:rPr lang="en-US" sz="2400" dirty="0"/>
              <a:t> user </a:t>
            </a:r>
            <a:r>
              <a:rPr lang="en-US" sz="2400" dirty="0" err="1"/>
              <a:t>pengguna</a:t>
            </a:r>
            <a:r>
              <a:rPr lang="en-US" sz="2400" dirty="0"/>
              <a:t>.</a:t>
            </a:r>
          </a:p>
          <a:p>
            <a:pPr algn="just"/>
            <a:r>
              <a:rPr lang="en-US" sz="2400" dirty="0"/>
              <a:t>- </a:t>
            </a:r>
            <a:r>
              <a:rPr lang="en-US" sz="2400" b="1" dirty="0"/>
              <a:t>Help</a:t>
            </a:r>
            <a:r>
              <a:rPr lang="en-US" sz="2400" dirty="0"/>
              <a:t> : </a:t>
            </a:r>
            <a:r>
              <a:rPr lang="en-US" sz="2400" dirty="0" err="1"/>
              <a:t>bantuan</a:t>
            </a:r>
            <a:r>
              <a:rPr lang="en-US" sz="2400" dirty="0"/>
              <a:t> </a:t>
            </a:r>
            <a:r>
              <a:rPr lang="en-US" sz="2400" dirty="0" err="1"/>
              <a:t>ke</a:t>
            </a:r>
            <a:r>
              <a:rPr lang="en-US" sz="2400" dirty="0"/>
              <a:t> helpdesk </a:t>
            </a:r>
            <a:r>
              <a:rPr lang="en-US" sz="2400" dirty="0" err="1"/>
              <a:t>jika</a:t>
            </a:r>
            <a:r>
              <a:rPr lang="en-US" sz="2400" dirty="0"/>
              <a:t> </a:t>
            </a:r>
            <a:r>
              <a:rPr lang="en-US" sz="2400" dirty="0" err="1"/>
              <a:t>terdapat</a:t>
            </a:r>
            <a:r>
              <a:rPr lang="en-US" sz="2400" dirty="0"/>
              <a:t> issue </a:t>
            </a:r>
            <a:r>
              <a:rPr lang="en-US" sz="2400" dirty="0" err="1"/>
              <a:t>atau</a:t>
            </a:r>
            <a:r>
              <a:rPr lang="en-US" sz="2400" dirty="0"/>
              <a:t> </a:t>
            </a:r>
            <a:r>
              <a:rPr lang="en-US" sz="2400" dirty="0" err="1"/>
              <a:t>masukan</a:t>
            </a:r>
            <a:r>
              <a:rPr lang="en-US" sz="2400" dirty="0"/>
              <a:t>.</a:t>
            </a:r>
          </a:p>
          <a:p>
            <a:pPr algn="just"/>
            <a:r>
              <a:rPr lang="en-US" sz="2400" dirty="0"/>
              <a:t>- </a:t>
            </a:r>
            <a:r>
              <a:rPr lang="en-US" sz="2400" b="1" dirty="0"/>
              <a:t>App Version</a:t>
            </a:r>
            <a:r>
              <a:rPr lang="en-US" sz="2400" dirty="0"/>
              <a:t> : </a:t>
            </a:r>
            <a:r>
              <a:rPr lang="en-US" sz="2400" dirty="0" err="1"/>
              <a:t>Informasi</a:t>
            </a:r>
            <a:r>
              <a:rPr lang="en-US" sz="2400" dirty="0"/>
              <a:t> version App </a:t>
            </a:r>
            <a:r>
              <a:rPr lang="en-US" sz="2400" dirty="0" err="1"/>
              <a:t>untuk</a:t>
            </a:r>
            <a:r>
              <a:rPr lang="en-US" sz="2400" dirty="0"/>
              <a:t> </a:t>
            </a:r>
            <a:r>
              <a:rPr lang="en-US" sz="2400" dirty="0" err="1"/>
              <a:t>fasilitas</a:t>
            </a:r>
            <a:r>
              <a:rPr lang="en-US" sz="2400" dirty="0"/>
              <a:t> </a:t>
            </a:r>
            <a:r>
              <a:rPr lang="en-US" sz="2400" dirty="0" err="1"/>
              <a:t>informasi</a:t>
            </a:r>
            <a:r>
              <a:rPr lang="en-US" sz="2400" dirty="0"/>
              <a:t> Update </a:t>
            </a:r>
            <a:r>
              <a:rPr lang="en-US" sz="2400" dirty="0" err="1"/>
              <a:t>berikutnya</a:t>
            </a:r>
            <a:r>
              <a:rPr lang="en-US" sz="2400" dirty="0"/>
              <a:t>.</a:t>
            </a:r>
          </a:p>
          <a:p>
            <a:pPr algn="just"/>
            <a:r>
              <a:rPr lang="en-US" sz="2400" dirty="0"/>
              <a:t>- </a:t>
            </a:r>
            <a:r>
              <a:rPr lang="en-US" sz="2400" b="1" dirty="0"/>
              <a:t>Logout</a:t>
            </a:r>
            <a:r>
              <a:rPr lang="en-US" sz="2400" dirty="0"/>
              <a:t> : </a:t>
            </a:r>
            <a:r>
              <a:rPr lang="en-US" sz="2400" dirty="0" err="1"/>
              <a:t>keluar</a:t>
            </a:r>
            <a:r>
              <a:rPr lang="en-US" sz="2400" dirty="0"/>
              <a:t> </a:t>
            </a:r>
            <a:r>
              <a:rPr lang="en-US" sz="2400" dirty="0" err="1"/>
              <a:t>dari</a:t>
            </a:r>
            <a:r>
              <a:rPr lang="en-US" sz="2400" dirty="0"/>
              <a:t> </a:t>
            </a:r>
            <a:r>
              <a:rPr lang="en-US" sz="2400" dirty="0" err="1"/>
              <a:t>aplikasi</a:t>
            </a:r>
            <a:r>
              <a:rPr lang="en-US" sz="2400" dirty="0"/>
              <a:t> Camera App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32577281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4" y="691117"/>
            <a:ext cx="2561468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Login Web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4C0D38-2684-DDF0-8DFC-1FE16F112D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9" t="13701" r="10108"/>
          <a:stretch/>
        </p:blipFill>
        <p:spPr>
          <a:xfrm>
            <a:off x="688369" y="1695236"/>
            <a:ext cx="6667928" cy="40848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52BD40C-9EDA-100E-752F-2C1471D65939}"/>
              </a:ext>
            </a:extLst>
          </p:cNvPr>
          <p:cNvSpPr txBox="1"/>
          <p:nvPr/>
        </p:nvSpPr>
        <p:spPr>
          <a:xfrm>
            <a:off x="7582328" y="1695236"/>
            <a:ext cx="36678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Di </a:t>
            </a:r>
            <a:r>
              <a:rPr lang="en-US" sz="2400" dirty="0" err="1"/>
              <a:t>dalam</a:t>
            </a:r>
            <a:r>
              <a:rPr lang="en-US" sz="2400" dirty="0"/>
              <a:t> Web Gallery login </a:t>
            </a:r>
            <a:r>
              <a:rPr lang="en-US" sz="2400" dirty="0" err="1"/>
              <a:t>menggunakan</a:t>
            </a:r>
            <a:r>
              <a:rPr lang="en-US" sz="2400" dirty="0"/>
              <a:t> NIK SAP/ ID Global dan password yang </a:t>
            </a:r>
            <a:r>
              <a:rPr lang="en-US" sz="2400" dirty="0" err="1"/>
              <a:t>sama</a:t>
            </a:r>
            <a:r>
              <a:rPr lang="en-US" sz="2400" dirty="0"/>
              <a:t> </a:t>
            </a:r>
            <a:r>
              <a:rPr lang="en-US" sz="2400" dirty="0" err="1"/>
              <a:t>seperti</a:t>
            </a:r>
            <a:r>
              <a:rPr lang="en-US" sz="2400" dirty="0"/>
              <a:t> di Camera App Mobile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3445737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3" y="691117"/>
            <a:ext cx="2910789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Directory List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BAAE0B-3D24-6765-C36D-3AB512C742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03" y="1756882"/>
            <a:ext cx="8285536" cy="39247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8C8BE6-034B-E12B-A6B2-F1086AEA990B}"/>
              </a:ext>
            </a:extLst>
          </p:cNvPr>
          <p:cNvSpPr txBox="1"/>
          <p:nvPr/>
        </p:nvSpPr>
        <p:spPr>
          <a:xfrm>
            <a:off x="9318660" y="1695236"/>
            <a:ext cx="237333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Pada </a:t>
            </a:r>
            <a:r>
              <a:rPr lang="en-US" sz="2400" dirty="0" err="1"/>
              <a:t>halaman</a:t>
            </a:r>
            <a:r>
              <a:rPr lang="en-US" sz="2400" dirty="0"/>
              <a:t> </a:t>
            </a:r>
            <a:r>
              <a:rPr lang="en-US" sz="2400" dirty="0" err="1"/>
              <a:t>pertama</a:t>
            </a:r>
            <a:r>
              <a:rPr lang="en-US" sz="2400" dirty="0"/>
              <a:t>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tampil</a:t>
            </a:r>
            <a:r>
              <a:rPr lang="en-US" sz="2400" dirty="0"/>
              <a:t> Directory List dan </a:t>
            </a:r>
            <a:r>
              <a:rPr lang="en-US" sz="2400" dirty="0" err="1"/>
              <a:t>akan</a:t>
            </a:r>
            <a:r>
              <a:rPr lang="en-US" sz="2400" dirty="0"/>
              <a:t> </a:t>
            </a:r>
            <a:r>
              <a:rPr lang="en-US" sz="2400" dirty="0" err="1"/>
              <a:t>menampilkan</a:t>
            </a:r>
            <a:r>
              <a:rPr lang="en-US" sz="2400" dirty="0"/>
              <a:t> </a:t>
            </a:r>
            <a:r>
              <a:rPr lang="en-US" sz="2400" dirty="0" err="1"/>
              <a:t>nama</a:t>
            </a:r>
            <a:r>
              <a:rPr lang="en-US" sz="2400" dirty="0"/>
              <a:t> yang </a:t>
            </a:r>
            <a:r>
              <a:rPr lang="en-US" sz="2400" dirty="0" err="1"/>
              <a:t>diisi</a:t>
            </a:r>
            <a:r>
              <a:rPr lang="en-US" sz="2400" dirty="0"/>
              <a:t> pada </a:t>
            </a:r>
            <a:r>
              <a:rPr lang="en-US" sz="2400" dirty="0" err="1"/>
              <a:t>saat</a:t>
            </a:r>
            <a:r>
              <a:rPr lang="en-US" sz="2400" dirty="0"/>
              <a:t> send photo di Camera App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4124139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4E8FA994-68E2-6260-1E17-866AED6EE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003" y="691117"/>
            <a:ext cx="3547788" cy="7357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1433" tIns="89993" rIns="91433" bIns="89993">
            <a:spAutoFit/>
          </a:bodyPr>
          <a:lstStyle/>
          <a:p>
            <a:pPr algn="l"/>
            <a:r>
              <a:rPr lang="en-US" sz="3600" b="1" dirty="0">
                <a:solidFill>
                  <a:srgbClr val="000000"/>
                </a:solidFill>
              </a:rPr>
              <a:t>Gallery Directory</a:t>
            </a:r>
            <a:endParaRPr lang="en-US" sz="3600" b="1" dirty="0">
              <a:solidFill>
                <a:srgbClr val="0070C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31DF11-DCCE-F36B-61BA-8C9740003E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03" y="1730475"/>
            <a:ext cx="8146073" cy="38586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F5CC98-8FB1-61C5-E536-E5E458E3C334}"/>
              </a:ext>
            </a:extLst>
          </p:cNvPr>
          <p:cNvSpPr txBox="1"/>
          <p:nvPr/>
        </p:nvSpPr>
        <p:spPr>
          <a:xfrm>
            <a:off x="9318660" y="1695236"/>
            <a:ext cx="237333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err="1"/>
              <a:t>Contoh</a:t>
            </a:r>
            <a:r>
              <a:rPr lang="en-US" sz="2400" dirty="0"/>
              <a:t> </a:t>
            </a:r>
            <a:r>
              <a:rPr lang="en-US" sz="2400" dirty="0" err="1"/>
              <a:t>halaman</a:t>
            </a:r>
            <a:r>
              <a:rPr lang="en-US" sz="2400" dirty="0"/>
              <a:t> Directory Testing </a:t>
            </a:r>
            <a:r>
              <a:rPr lang="en-US" sz="2400" dirty="0" err="1"/>
              <a:t>terdapat</a:t>
            </a:r>
            <a:r>
              <a:rPr lang="en-US" sz="2400" dirty="0"/>
              <a:t> </a:t>
            </a:r>
            <a:r>
              <a:rPr lang="en-US" sz="2400" dirty="0" err="1"/>
              <a:t>beberapa</a:t>
            </a:r>
            <a:r>
              <a:rPr lang="en-US" sz="2400" dirty="0"/>
              <a:t> Image </a:t>
            </a:r>
            <a:r>
              <a:rPr lang="en-US" sz="2400" dirty="0" err="1"/>
              <a:t>atau</a:t>
            </a:r>
            <a:r>
              <a:rPr lang="en-US" sz="2400" dirty="0"/>
              <a:t> Photo yang </a:t>
            </a:r>
            <a:r>
              <a:rPr lang="en-US" sz="2400" dirty="0" err="1"/>
              <a:t>tersimpan</a:t>
            </a:r>
            <a:r>
              <a:rPr lang="en-US" sz="2400" dirty="0"/>
              <a:t> </a:t>
            </a:r>
            <a:r>
              <a:rPr lang="en-US" sz="2400" dirty="0" err="1"/>
              <a:t>dalam</a:t>
            </a:r>
            <a:r>
              <a:rPr lang="en-US" sz="2400" dirty="0"/>
              <a:t> Gallery.</a:t>
            </a:r>
            <a:endParaRPr lang="en-ID" sz="2400" dirty="0"/>
          </a:p>
        </p:txBody>
      </p:sp>
    </p:spTree>
    <p:extLst>
      <p:ext uri="{BB962C8B-B14F-4D97-AF65-F5344CB8AC3E}">
        <p14:creationId xmlns:p14="http://schemas.microsoft.com/office/powerpoint/2010/main" val="81158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3vOKoAD0u_688JGVhQ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K6cQXWjk6WJaSZxlws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  <p:tag name="THINKCELLSHAPEDONOTDELETE" val="pOvrojXbEc06pti9jM3JX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IqRhFCeQDAp4FfzQK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_Blank">
  <a:themeElements>
    <a:clrScheme name="APP">
      <a:dk1>
        <a:srgbClr val="000000"/>
      </a:dk1>
      <a:lt1>
        <a:srgbClr val="FFFFFF"/>
      </a:lt1>
      <a:dk2>
        <a:srgbClr val="760000"/>
      </a:dk2>
      <a:lt2>
        <a:srgbClr val="808080"/>
      </a:lt2>
      <a:accent1>
        <a:srgbClr val="E2E2E2"/>
      </a:accent1>
      <a:accent2>
        <a:srgbClr val="E69696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B32B2B"/>
      </a:hlink>
      <a:folHlink>
        <a:srgbClr val="D7575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</a:spPr>
      <a:bodyPr wrap="square" rtlCol="0" anchor="ctr">
        <a:spAutoFit/>
      </a:bodyPr>
      <a:lstStyle>
        <a:defPPr algn="ctr">
          <a:defRPr lang="zh-CN" altLang="en-US" sz="2400" kern="100" dirty="0" smtClean="0">
            <a:solidFill>
              <a:sysClr val="window" lastClr="FFFFFF"/>
            </a:solidFill>
            <a:latin typeface="Arial" panose="020B0604020202020204" pitchFamily="34" charset="0"/>
            <a:ea typeface="黑体" panose="02010609060101010101" charset="-122"/>
            <a:cs typeface="Times New Roman" panose="02020603050405020304" pitchFamily="18" charset="0"/>
          </a:defRPr>
        </a:defPPr>
      </a:lst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기본 디자인">
  <a:themeElements>
    <a:clrScheme name="Orange Re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기본 디자인">
      <a:majorFont>
        <a:latin typeface="Times New Roman"/>
        <a:ea typeface="굴림"/>
        <a:cs typeface=""/>
      </a:majorFont>
      <a:minorFont>
        <a:latin typeface="Times New Roman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SimSun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Blank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ntents Slide Master">
  <a:themeElements>
    <a:clrScheme name="ALLPPT-COLOR-A38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680C3"/>
      </a:accent1>
      <a:accent2>
        <a:srgbClr val="07A398"/>
      </a:accent2>
      <a:accent3>
        <a:srgbClr val="90C221"/>
      </a:accent3>
      <a:accent4>
        <a:srgbClr val="FBA200"/>
      </a:accent4>
      <a:accent5>
        <a:srgbClr val="E62601"/>
      </a:accent5>
      <a:accent6>
        <a:srgbClr val="2C2F45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6</TotalTime>
  <Words>526</Words>
  <Application>Microsoft Office PowerPoint</Application>
  <PresentationFormat>Widescreen</PresentationFormat>
  <Paragraphs>52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8" baseType="lpstr">
      <vt:lpstr>Aharoni</vt:lpstr>
      <vt:lpstr>Arial</vt:lpstr>
      <vt:lpstr>Calibri</vt:lpstr>
      <vt:lpstr>Calibri Light</vt:lpstr>
      <vt:lpstr>Rage Italic</vt:lpstr>
      <vt:lpstr>Times New Roman</vt:lpstr>
      <vt:lpstr>17_Blank</vt:lpstr>
      <vt:lpstr>1_Blank</vt:lpstr>
      <vt:lpstr>Blank</vt:lpstr>
      <vt:lpstr>기본 디자인</vt:lpstr>
      <vt:lpstr>2_Blank</vt:lpstr>
      <vt:lpstr>Contents Slide Master</vt:lpstr>
      <vt:lpstr>Office Theme</vt:lpstr>
      <vt:lpstr>TCLayout.ActiveDocument.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Process Automation – Planning &amp; Concept</dc:title>
  <dc:creator>April Kurniawan</dc:creator>
  <cp:lastModifiedBy>Sarmuni, S.Kom</cp:lastModifiedBy>
  <cp:revision>615</cp:revision>
  <cp:lastPrinted>2022-11-22T01:45:00Z</cp:lastPrinted>
  <dcterms:created xsi:type="dcterms:W3CDTF">2022-11-08T04:49:00Z</dcterms:created>
  <dcterms:modified xsi:type="dcterms:W3CDTF">2023-10-02T03:5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37AFD156F7B46D7B8441A69807B962A</vt:lpwstr>
  </property>
  <property fmtid="{D5CDD505-2E9C-101B-9397-08002B2CF9AE}" pid="3" name="KSOProductBuildVer">
    <vt:lpwstr>1033-11.2.0.10463</vt:lpwstr>
  </property>
</Properties>
</file>